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86" r:id="rId3"/>
    <p:sldMasterId id="2147483698" r:id="rId4"/>
    <p:sldMasterId id="2147483709" r:id="rId5"/>
  </p:sldMasterIdLst>
  <p:notesMasterIdLst>
    <p:notesMasterId r:id="rId18"/>
  </p:notesMasterIdLst>
  <p:handoutMasterIdLst>
    <p:handoutMasterId r:id="rId19"/>
  </p:handoutMasterIdLst>
  <p:sldIdLst>
    <p:sldId id="394" r:id="rId6"/>
    <p:sldId id="297" r:id="rId7"/>
    <p:sldId id="393" r:id="rId8"/>
    <p:sldId id="413" r:id="rId9"/>
    <p:sldId id="433" r:id="rId10"/>
    <p:sldId id="434" r:id="rId11"/>
    <p:sldId id="452" r:id="rId12"/>
    <p:sldId id="453" r:id="rId13"/>
    <p:sldId id="468" r:id="rId14"/>
    <p:sldId id="469" r:id="rId15"/>
    <p:sldId id="467" r:id="rId16"/>
    <p:sldId id="412" r:id="rId17"/>
  </p:sldIdLst>
  <p:sldSz cx="9144000" cy="6858000" type="screen4x3"/>
  <p:notesSz cx="6669088" cy="9926638"/>
  <p:defaultTextStyle>
    <a:defPPr>
      <a:defRPr lang="en-US"/>
    </a:defPPr>
    <a:lvl1pPr marL="0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864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722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584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444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4305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1165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8027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4888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btissam radi" initials="ir" lastIdx="2" clrIdx="0">
    <p:extLst>
      <p:ext uri="{19B8F6BF-5375-455C-9EA6-DF929625EA0E}">
        <p15:presenceInfo xmlns:p15="http://schemas.microsoft.com/office/powerpoint/2012/main" userId="3a4af3701edb769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6600FF"/>
    <a:srgbClr val="9F5FCF"/>
    <a:srgbClr val="FF33CC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300" autoAdjust="0"/>
    <p:restoredTop sz="87211" autoAdjust="0"/>
  </p:normalViewPr>
  <p:slideViewPr>
    <p:cSldViewPr>
      <p:cViewPr varScale="1">
        <p:scale>
          <a:sx n="86" d="100"/>
          <a:sy n="86" d="100"/>
        </p:scale>
        <p:origin x="1646" y="67"/>
      </p:cViewPr>
      <p:guideLst>
        <p:guide orient="horz" pos="2160"/>
        <p:guide pos="28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3192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00B2ABD-EC52-433E-B79C-D3CB255C7694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18036FA7-51FD-48CF-BA5C-3976CA6955D1}">
      <dgm:prSet phldrT="[Texte]" custT="1"/>
      <dgm:spPr/>
      <dgm:t>
        <a:bodyPr/>
        <a:lstStyle/>
        <a:p>
          <a:r>
            <a:rPr lang="fr-FR" sz="1500" b="0" i="0" cap="all" baseline="0" dirty="0">
              <a:latin typeface="BISansCond" panose="02000006050000020004" pitchFamily="2" charset="0"/>
              <a:ea typeface="+mj-ea"/>
              <a:cs typeface="Calibri" panose="020F0502020204030204" pitchFamily="34" charset="0"/>
            </a:rPr>
            <a:t>Problématique &amp; présentation des données</a:t>
          </a:r>
        </a:p>
      </dgm:t>
    </dgm:pt>
    <dgm:pt modelId="{4E0B8947-2F8C-4933-8D03-AE5DD2FD7E40}" type="parTrans" cxnId="{C13979EF-BD44-4922-8D57-E27268DDEA3B}">
      <dgm:prSet/>
      <dgm:spPr/>
      <dgm:t>
        <a:bodyPr/>
        <a:lstStyle/>
        <a:p>
          <a:endParaRPr lang="fr-FR" sz="15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F6E0A7F-A22A-46AE-8D81-04A49688BFC4}" type="sibTrans" cxnId="{C13979EF-BD44-4922-8D57-E27268DDEA3B}">
      <dgm:prSet/>
      <dgm:spPr/>
      <dgm:t>
        <a:bodyPr/>
        <a:lstStyle/>
        <a:p>
          <a:endParaRPr lang="fr-FR" sz="15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D3C32A78-9596-449A-A17D-7EE6F5C328EF}">
      <dgm:prSet phldrT="[Texte]" custT="1"/>
      <dgm:spPr/>
      <dgm:t>
        <a:bodyPr/>
        <a:lstStyle/>
        <a:p>
          <a:r>
            <a:rPr lang="fr-FR" sz="1500" b="0" i="0" cap="all" baseline="0" dirty="0">
              <a:latin typeface="BISansCond" panose="02000006050000020004" pitchFamily="2" charset="0"/>
              <a:ea typeface="+mj-ea"/>
              <a:cs typeface="Calibri" panose="020F0502020204030204" pitchFamily="34" charset="0"/>
            </a:rPr>
            <a:t>Prétraitements</a:t>
          </a:r>
        </a:p>
      </dgm:t>
    </dgm:pt>
    <dgm:pt modelId="{4B6AC9AC-AE82-425E-95BF-EA37C2966C97}" type="parTrans" cxnId="{BEADFCA3-7F58-471E-B1CF-429319E42A07}">
      <dgm:prSet/>
      <dgm:spPr/>
      <dgm:t>
        <a:bodyPr/>
        <a:lstStyle/>
        <a:p>
          <a:endParaRPr lang="fr-FR" sz="15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B64FE9A6-AF73-4F56-BD26-6F5CD7777648}" type="sibTrans" cxnId="{BEADFCA3-7F58-471E-B1CF-429319E42A07}">
      <dgm:prSet/>
      <dgm:spPr/>
      <dgm:t>
        <a:bodyPr/>
        <a:lstStyle/>
        <a:p>
          <a:endParaRPr lang="fr-FR" sz="15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4D80785-083D-4206-88B6-396CD3EF893F}">
      <dgm:prSet phldrT="[Texte]" custT="1"/>
      <dgm:spPr/>
      <dgm:t>
        <a:bodyPr/>
        <a:lstStyle/>
        <a:p>
          <a:r>
            <a:rPr lang="fr-FR" sz="1500" b="0" i="0" cap="all" baseline="0" dirty="0">
              <a:latin typeface="BISansCond" panose="02000006050000020004" pitchFamily="2" charset="0"/>
              <a:ea typeface="+mj-ea"/>
              <a:cs typeface="Calibri" panose="020F0502020204030204" pitchFamily="34" charset="0"/>
            </a:rPr>
            <a:t>Approches de Modélisation</a:t>
          </a:r>
        </a:p>
      </dgm:t>
    </dgm:pt>
    <dgm:pt modelId="{FF5B437E-7317-4D54-BEFF-81CB29A07539}" type="sibTrans" cxnId="{C8662DD9-E853-4BAB-9DAC-8DE15727DED5}">
      <dgm:prSet/>
      <dgm:spPr/>
      <dgm:t>
        <a:bodyPr/>
        <a:lstStyle/>
        <a:p>
          <a:endParaRPr lang="fr-FR"/>
        </a:p>
      </dgm:t>
    </dgm:pt>
    <dgm:pt modelId="{E6F9B225-962E-4277-8995-134B00144BB6}" type="parTrans" cxnId="{C8662DD9-E853-4BAB-9DAC-8DE15727DED5}">
      <dgm:prSet/>
      <dgm:spPr/>
      <dgm:t>
        <a:bodyPr/>
        <a:lstStyle/>
        <a:p>
          <a:endParaRPr lang="fr-FR"/>
        </a:p>
      </dgm:t>
    </dgm:pt>
    <dgm:pt modelId="{766C837A-2B8F-460E-9B1F-989940A6314C}">
      <dgm:prSet phldrT="[Texte]" custT="1"/>
      <dgm:spPr/>
      <dgm:t>
        <a:bodyPr/>
        <a:lstStyle/>
        <a:p>
          <a:r>
            <a:rPr lang="fr-FR" sz="1500" b="0" i="0" cap="all" baseline="0" dirty="0">
              <a:latin typeface="BISansCond" panose="02000006050000020004" pitchFamily="2" charset="0"/>
              <a:ea typeface="+mj-ea"/>
              <a:cs typeface="Calibri" panose="020F0502020204030204" pitchFamily="34" charset="0"/>
            </a:rPr>
            <a:t>Questions &amp; réponses</a:t>
          </a:r>
        </a:p>
      </dgm:t>
    </dgm:pt>
    <dgm:pt modelId="{AE3E353A-3AC7-43A0-B86E-01410180E730}" type="parTrans" cxnId="{8C4A0EE0-9AD2-4295-9AE0-663B62BCB333}">
      <dgm:prSet/>
      <dgm:spPr/>
      <dgm:t>
        <a:bodyPr/>
        <a:lstStyle/>
        <a:p>
          <a:endParaRPr lang="fr-FR"/>
        </a:p>
      </dgm:t>
    </dgm:pt>
    <dgm:pt modelId="{0106A3D4-B236-4991-A898-21AC6601C171}" type="sibTrans" cxnId="{8C4A0EE0-9AD2-4295-9AE0-663B62BCB333}">
      <dgm:prSet/>
      <dgm:spPr/>
      <dgm:t>
        <a:bodyPr/>
        <a:lstStyle/>
        <a:p>
          <a:endParaRPr lang="fr-FR"/>
        </a:p>
      </dgm:t>
    </dgm:pt>
    <dgm:pt modelId="{92801743-2926-4FA8-AECD-EFA59FFEBF3D}">
      <dgm:prSet phldrT="[Texte]" custT="1"/>
      <dgm:spPr/>
      <dgm:t>
        <a:bodyPr/>
        <a:lstStyle/>
        <a:p>
          <a:r>
            <a:rPr lang="fr-FR" sz="1500" b="0" i="0" cap="all" baseline="0" dirty="0">
              <a:latin typeface="BISansCond" panose="02000006050000020004" pitchFamily="2" charset="0"/>
              <a:ea typeface="+mj-ea"/>
              <a:cs typeface="Calibri" panose="020F0502020204030204" pitchFamily="34" charset="0"/>
            </a:rPr>
            <a:t>Dashboard interactif </a:t>
          </a:r>
        </a:p>
      </dgm:t>
    </dgm:pt>
    <dgm:pt modelId="{1A5D1BCE-0FF9-4AFA-9BC5-F22967E0CEA8}" type="parTrans" cxnId="{9AF9DC15-938B-4B2F-A314-A49202BAC295}">
      <dgm:prSet/>
      <dgm:spPr/>
      <dgm:t>
        <a:bodyPr/>
        <a:lstStyle/>
        <a:p>
          <a:endParaRPr lang="fr-FR"/>
        </a:p>
      </dgm:t>
    </dgm:pt>
    <dgm:pt modelId="{D04427B3-4F2E-4A1B-80A2-9B2CE5B9F6AA}" type="sibTrans" cxnId="{9AF9DC15-938B-4B2F-A314-A49202BAC295}">
      <dgm:prSet/>
      <dgm:spPr/>
      <dgm:t>
        <a:bodyPr/>
        <a:lstStyle/>
        <a:p>
          <a:endParaRPr lang="fr-FR"/>
        </a:p>
      </dgm:t>
    </dgm:pt>
    <dgm:pt modelId="{310BD541-0A92-4A8B-85E5-19CBCB6D3E4A}" type="pres">
      <dgm:prSet presAssocID="{B00B2ABD-EC52-433E-B79C-D3CB255C7694}" presName="Name0" presStyleCnt="0">
        <dgm:presLayoutVars>
          <dgm:chMax val="7"/>
          <dgm:chPref val="7"/>
          <dgm:dir/>
        </dgm:presLayoutVars>
      </dgm:prSet>
      <dgm:spPr/>
    </dgm:pt>
    <dgm:pt modelId="{A34D5D88-6E3F-46CB-AF1E-B263F6B00409}" type="pres">
      <dgm:prSet presAssocID="{B00B2ABD-EC52-433E-B79C-D3CB255C7694}" presName="Name1" presStyleCnt="0"/>
      <dgm:spPr/>
    </dgm:pt>
    <dgm:pt modelId="{36C5ED59-E595-42AF-A496-5048C216DF12}" type="pres">
      <dgm:prSet presAssocID="{B00B2ABD-EC52-433E-B79C-D3CB255C7694}" presName="cycle" presStyleCnt="0"/>
      <dgm:spPr/>
    </dgm:pt>
    <dgm:pt modelId="{4C1B346A-7040-4BD0-AAF0-DDC0907FD96A}" type="pres">
      <dgm:prSet presAssocID="{B00B2ABD-EC52-433E-B79C-D3CB255C7694}" presName="srcNode" presStyleLbl="node1" presStyleIdx="0" presStyleCnt="5"/>
      <dgm:spPr/>
    </dgm:pt>
    <dgm:pt modelId="{BFD203BC-F0A8-4098-A873-6729A08B0EE0}" type="pres">
      <dgm:prSet presAssocID="{B00B2ABD-EC52-433E-B79C-D3CB255C7694}" presName="conn" presStyleLbl="parChTrans1D2" presStyleIdx="0" presStyleCnt="1"/>
      <dgm:spPr/>
    </dgm:pt>
    <dgm:pt modelId="{C4B7BADD-3DCA-4A03-AEF4-1C5FD5B0EF4E}" type="pres">
      <dgm:prSet presAssocID="{B00B2ABD-EC52-433E-B79C-D3CB255C7694}" presName="extraNode" presStyleLbl="node1" presStyleIdx="0" presStyleCnt="5"/>
      <dgm:spPr/>
    </dgm:pt>
    <dgm:pt modelId="{C2BA52ED-E316-4CCB-8427-E7AD7FA6ACCE}" type="pres">
      <dgm:prSet presAssocID="{B00B2ABD-EC52-433E-B79C-D3CB255C7694}" presName="dstNode" presStyleLbl="node1" presStyleIdx="0" presStyleCnt="5"/>
      <dgm:spPr/>
    </dgm:pt>
    <dgm:pt modelId="{0964FADD-DB7A-4645-9938-4918BD512552}" type="pres">
      <dgm:prSet presAssocID="{18036FA7-51FD-48CF-BA5C-3976CA6955D1}" presName="text_1" presStyleLbl="node1" presStyleIdx="0" presStyleCnt="5">
        <dgm:presLayoutVars>
          <dgm:bulletEnabled val="1"/>
        </dgm:presLayoutVars>
      </dgm:prSet>
      <dgm:spPr/>
    </dgm:pt>
    <dgm:pt modelId="{C318E10F-0BDC-4ECD-A2AD-21CA00C75BA2}" type="pres">
      <dgm:prSet presAssocID="{18036FA7-51FD-48CF-BA5C-3976CA6955D1}" presName="accent_1" presStyleCnt="0"/>
      <dgm:spPr/>
    </dgm:pt>
    <dgm:pt modelId="{FF01C037-832D-49BB-AA63-7D1979D0A2B9}" type="pres">
      <dgm:prSet presAssocID="{18036FA7-51FD-48CF-BA5C-3976CA6955D1}" presName="accentRepeatNode" presStyleLbl="solidFgAcc1" presStyleIdx="0" presStyleCnt="5"/>
      <dgm:spPr/>
    </dgm:pt>
    <dgm:pt modelId="{91810338-CA9B-4C19-A94F-F5AA281B74E8}" type="pres">
      <dgm:prSet presAssocID="{D3C32A78-9596-449A-A17D-7EE6F5C328EF}" presName="text_2" presStyleLbl="node1" presStyleIdx="1" presStyleCnt="5">
        <dgm:presLayoutVars>
          <dgm:bulletEnabled val="1"/>
        </dgm:presLayoutVars>
      </dgm:prSet>
      <dgm:spPr/>
    </dgm:pt>
    <dgm:pt modelId="{6E028D15-89A8-4B5C-B089-B60FB7A43F4E}" type="pres">
      <dgm:prSet presAssocID="{D3C32A78-9596-449A-A17D-7EE6F5C328EF}" presName="accent_2" presStyleCnt="0"/>
      <dgm:spPr/>
    </dgm:pt>
    <dgm:pt modelId="{61FA124C-D6E5-4B74-ACAB-8BB4C44A3A94}" type="pres">
      <dgm:prSet presAssocID="{D3C32A78-9596-449A-A17D-7EE6F5C328EF}" presName="accentRepeatNode" presStyleLbl="solidFgAcc1" presStyleIdx="1" presStyleCnt="5"/>
      <dgm:spPr/>
    </dgm:pt>
    <dgm:pt modelId="{566F108F-D98D-4290-A496-E5CFFDB061B2}" type="pres">
      <dgm:prSet presAssocID="{E4D80785-083D-4206-88B6-396CD3EF893F}" presName="text_3" presStyleLbl="node1" presStyleIdx="2" presStyleCnt="5">
        <dgm:presLayoutVars>
          <dgm:bulletEnabled val="1"/>
        </dgm:presLayoutVars>
      </dgm:prSet>
      <dgm:spPr/>
    </dgm:pt>
    <dgm:pt modelId="{6C7DF550-FFB6-4E6C-B541-025887ACCE83}" type="pres">
      <dgm:prSet presAssocID="{E4D80785-083D-4206-88B6-396CD3EF893F}" presName="accent_3" presStyleCnt="0"/>
      <dgm:spPr/>
    </dgm:pt>
    <dgm:pt modelId="{DD24DED0-4D1F-49A4-8B35-D4E637E17774}" type="pres">
      <dgm:prSet presAssocID="{E4D80785-083D-4206-88B6-396CD3EF893F}" presName="accentRepeatNode" presStyleLbl="solidFgAcc1" presStyleIdx="2" presStyleCnt="5"/>
      <dgm:spPr/>
    </dgm:pt>
    <dgm:pt modelId="{5E644273-6F7B-4106-8A06-B9794EA4211D}" type="pres">
      <dgm:prSet presAssocID="{92801743-2926-4FA8-AECD-EFA59FFEBF3D}" presName="text_4" presStyleLbl="node1" presStyleIdx="3" presStyleCnt="5">
        <dgm:presLayoutVars>
          <dgm:bulletEnabled val="1"/>
        </dgm:presLayoutVars>
      </dgm:prSet>
      <dgm:spPr/>
    </dgm:pt>
    <dgm:pt modelId="{29E55A85-1327-4F1B-9344-C9B305CBFBFE}" type="pres">
      <dgm:prSet presAssocID="{92801743-2926-4FA8-AECD-EFA59FFEBF3D}" presName="accent_4" presStyleCnt="0"/>
      <dgm:spPr/>
    </dgm:pt>
    <dgm:pt modelId="{E6EA1175-C66D-4141-AD1E-1591BAF5E701}" type="pres">
      <dgm:prSet presAssocID="{92801743-2926-4FA8-AECD-EFA59FFEBF3D}" presName="accentRepeatNode" presStyleLbl="solidFgAcc1" presStyleIdx="3" presStyleCnt="5"/>
      <dgm:spPr/>
    </dgm:pt>
    <dgm:pt modelId="{C71536B3-0F2E-4EF1-99C4-8D11B53E894D}" type="pres">
      <dgm:prSet presAssocID="{766C837A-2B8F-460E-9B1F-989940A6314C}" presName="text_5" presStyleLbl="node1" presStyleIdx="4" presStyleCnt="5">
        <dgm:presLayoutVars>
          <dgm:bulletEnabled val="1"/>
        </dgm:presLayoutVars>
      </dgm:prSet>
      <dgm:spPr/>
    </dgm:pt>
    <dgm:pt modelId="{5EFC135C-2F3D-4E27-9045-BF3C17D322D0}" type="pres">
      <dgm:prSet presAssocID="{766C837A-2B8F-460E-9B1F-989940A6314C}" presName="accent_5" presStyleCnt="0"/>
      <dgm:spPr/>
    </dgm:pt>
    <dgm:pt modelId="{1DF7413E-AA1C-4462-BF7B-2BC9114CEA9D}" type="pres">
      <dgm:prSet presAssocID="{766C837A-2B8F-460E-9B1F-989940A6314C}" presName="accentRepeatNode" presStyleLbl="solidFgAcc1" presStyleIdx="4" presStyleCnt="5"/>
      <dgm:spPr/>
    </dgm:pt>
  </dgm:ptLst>
  <dgm:cxnLst>
    <dgm:cxn modelId="{9AF9DC15-938B-4B2F-A314-A49202BAC295}" srcId="{B00B2ABD-EC52-433E-B79C-D3CB255C7694}" destId="{92801743-2926-4FA8-AECD-EFA59FFEBF3D}" srcOrd="3" destOrd="0" parTransId="{1A5D1BCE-0FF9-4AFA-9BC5-F22967E0CEA8}" sibTransId="{D04427B3-4F2E-4A1B-80A2-9B2CE5B9F6AA}"/>
    <dgm:cxn modelId="{E4E0F53C-D05D-4156-A823-1788E6B578AB}" type="presOf" srcId="{92801743-2926-4FA8-AECD-EFA59FFEBF3D}" destId="{5E644273-6F7B-4106-8A06-B9794EA4211D}" srcOrd="0" destOrd="0" presId="urn:microsoft.com/office/officeart/2008/layout/VerticalCurvedList"/>
    <dgm:cxn modelId="{F4511F5D-C1A3-497F-98AD-645281309E7D}" type="presOf" srcId="{18036FA7-51FD-48CF-BA5C-3976CA6955D1}" destId="{0964FADD-DB7A-4645-9938-4918BD512552}" srcOrd="0" destOrd="0" presId="urn:microsoft.com/office/officeart/2008/layout/VerticalCurvedList"/>
    <dgm:cxn modelId="{B3CABA6C-9F65-4BFD-850E-8FC628E8F65D}" type="presOf" srcId="{E4D80785-083D-4206-88B6-396CD3EF893F}" destId="{566F108F-D98D-4290-A496-E5CFFDB061B2}" srcOrd="0" destOrd="0" presId="urn:microsoft.com/office/officeart/2008/layout/VerticalCurvedList"/>
    <dgm:cxn modelId="{905AECA2-9489-4B14-A5B7-EDF1A64E498A}" type="presOf" srcId="{B00B2ABD-EC52-433E-B79C-D3CB255C7694}" destId="{310BD541-0A92-4A8B-85E5-19CBCB6D3E4A}" srcOrd="0" destOrd="0" presId="urn:microsoft.com/office/officeart/2008/layout/VerticalCurvedList"/>
    <dgm:cxn modelId="{BEADFCA3-7F58-471E-B1CF-429319E42A07}" srcId="{B00B2ABD-EC52-433E-B79C-D3CB255C7694}" destId="{D3C32A78-9596-449A-A17D-7EE6F5C328EF}" srcOrd="1" destOrd="0" parTransId="{4B6AC9AC-AE82-425E-95BF-EA37C2966C97}" sibTransId="{B64FE9A6-AF73-4F56-BD26-6F5CD7777648}"/>
    <dgm:cxn modelId="{C8662DD9-E853-4BAB-9DAC-8DE15727DED5}" srcId="{B00B2ABD-EC52-433E-B79C-D3CB255C7694}" destId="{E4D80785-083D-4206-88B6-396CD3EF893F}" srcOrd="2" destOrd="0" parTransId="{E6F9B225-962E-4277-8995-134B00144BB6}" sibTransId="{FF5B437E-7317-4D54-BEFF-81CB29A07539}"/>
    <dgm:cxn modelId="{8C4A0EE0-9AD2-4295-9AE0-663B62BCB333}" srcId="{B00B2ABD-EC52-433E-B79C-D3CB255C7694}" destId="{766C837A-2B8F-460E-9B1F-989940A6314C}" srcOrd="4" destOrd="0" parTransId="{AE3E353A-3AC7-43A0-B86E-01410180E730}" sibTransId="{0106A3D4-B236-4991-A898-21AC6601C171}"/>
    <dgm:cxn modelId="{1DB951E7-F932-4218-8FCF-5FF21C6D92CF}" type="presOf" srcId="{4F6E0A7F-A22A-46AE-8D81-04A49688BFC4}" destId="{BFD203BC-F0A8-4098-A873-6729A08B0EE0}" srcOrd="0" destOrd="0" presId="urn:microsoft.com/office/officeart/2008/layout/VerticalCurvedList"/>
    <dgm:cxn modelId="{C13979EF-BD44-4922-8D57-E27268DDEA3B}" srcId="{B00B2ABD-EC52-433E-B79C-D3CB255C7694}" destId="{18036FA7-51FD-48CF-BA5C-3976CA6955D1}" srcOrd="0" destOrd="0" parTransId="{4E0B8947-2F8C-4933-8D03-AE5DD2FD7E40}" sibTransId="{4F6E0A7F-A22A-46AE-8D81-04A49688BFC4}"/>
    <dgm:cxn modelId="{F2417DF7-8CF6-44DD-8F2A-92D48E4825B3}" type="presOf" srcId="{D3C32A78-9596-449A-A17D-7EE6F5C328EF}" destId="{91810338-CA9B-4C19-A94F-F5AA281B74E8}" srcOrd="0" destOrd="0" presId="urn:microsoft.com/office/officeart/2008/layout/VerticalCurvedList"/>
    <dgm:cxn modelId="{D57B16F9-4C2B-4AF2-A85E-4C0E31C693A2}" type="presOf" srcId="{766C837A-2B8F-460E-9B1F-989940A6314C}" destId="{C71536B3-0F2E-4EF1-99C4-8D11B53E894D}" srcOrd="0" destOrd="0" presId="urn:microsoft.com/office/officeart/2008/layout/VerticalCurvedList"/>
    <dgm:cxn modelId="{123C1CAB-CFE6-4467-AC15-D32FD527FCFB}" type="presParOf" srcId="{310BD541-0A92-4A8B-85E5-19CBCB6D3E4A}" destId="{A34D5D88-6E3F-46CB-AF1E-B263F6B00409}" srcOrd="0" destOrd="0" presId="urn:microsoft.com/office/officeart/2008/layout/VerticalCurvedList"/>
    <dgm:cxn modelId="{4D4CDC84-11F2-4EE4-A2E9-55F85DEA695A}" type="presParOf" srcId="{A34D5D88-6E3F-46CB-AF1E-B263F6B00409}" destId="{36C5ED59-E595-42AF-A496-5048C216DF12}" srcOrd="0" destOrd="0" presId="urn:microsoft.com/office/officeart/2008/layout/VerticalCurvedList"/>
    <dgm:cxn modelId="{52928749-E37D-41F1-A635-87A5F814C226}" type="presParOf" srcId="{36C5ED59-E595-42AF-A496-5048C216DF12}" destId="{4C1B346A-7040-4BD0-AAF0-DDC0907FD96A}" srcOrd="0" destOrd="0" presId="urn:microsoft.com/office/officeart/2008/layout/VerticalCurvedList"/>
    <dgm:cxn modelId="{DB165DD3-4808-40F4-9855-E6E82999E30C}" type="presParOf" srcId="{36C5ED59-E595-42AF-A496-5048C216DF12}" destId="{BFD203BC-F0A8-4098-A873-6729A08B0EE0}" srcOrd="1" destOrd="0" presId="urn:microsoft.com/office/officeart/2008/layout/VerticalCurvedList"/>
    <dgm:cxn modelId="{5AF96629-8D9E-41C5-A0C4-9DB8BEF6D945}" type="presParOf" srcId="{36C5ED59-E595-42AF-A496-5048C216DF12}" destId="{C4B7BADD-3DCA-4A03-AEF4-1C5FD5B0EF4E}" srcOrd="2" destOrd="0" presId="urn:microsoft.com/office/officeart/2008/layout/VerticalCurvedList"/>
    <dgm:cxn modelId="{19B71EAD-338A-4643-8C10-786F4289E676}" type="presParOf" srcId="{36C5ED59-E595-42AF-A496-5048C216DF12}" destId="{C2BA52ED-E316-4CCB-8427-E7AD7FA6ACCE}" srcOrd="3" destOrd="0" presId="urn:microsoft.com/office/officeart/2008/layout/VerticalCurvedList"/>
    <dgm:cxn modelId="{28E21978-D4A1-4E7F-BC42-6BD34B30B7BB}" type="presParOf" srcId="{A34D5D88-6E3F-46CB-AF1E-B263F6B00409}" destId="{0964FADD-DB7A-4645-9938-4918BD512552}" srcOrd="1" destOrd="0" presId="urn:microsoft.com/office/officeart/2008/layout/VerticalCurvedList"/>
    <dgm:cxn modelId="{06A78295-54D4-486E-9B92-2D1F5131AE29}" type="presParOf" srcId="{A34D5D88-6E3F-46CB-AF1E-B263F6B00409}" destId="{C318E10F-0BDC-4ECD-A2AD-21CA00C75BA2}" srcOrd="2" destOrd="0" presId="urn:microsoft.com/office/officeart/2008/layout/VerticalCurvedList"/>
    <dgm:cxn modelId="{937F8AD8-FC40-45D3-A305-A9EDE691964D}" type="presParOf" srcId="{C318E10F-0BDC-4ECD-A2AD-21CA00C75BA2}" destId="{FF01C037-832D-49BB-AA63-7D1979D0A2B9}" srcOrd="0" destOrd="0" presId="urn:microsoft.com/office/officeart/2008/layout/VerticalCurvedList"/>
    <dgm:cxn modelId="{001018A7-65CE-4736-9264-E554FAACE4F7}" type="presParOf" srcId="{A34D5D88-6E3F-46CB-AF1E-B263F6B00409}" destId="{91810338-CA9B-4C19-A94F-F5AA281B74E8}" srcOrd="3" destOrd="0" presId="urn:microsoft.com/office/officeart/2008/layout/VerticalCurvedList"/>
    <dgm:cxn modelId="{A99B9BEB-40F5-445C-9E94-55EC3820AE16}" type="presParOf" srcId="{A34D5D88-6E3F-46CB-AF1E-B263F6B00409}" destId="{6E028D15-89A8-4B5C-B089-B60FB7A43F4E}" srcOrd="4" destOrd="0" presId="urn:microsoft.com/office/officeart/2008/layout/VerticalCurvedList"/>
    <dgm:cxn modelId="{FDE21D38-6E52-4173-B0FD-FAFA95C0A5D5}" type="presParOf" srcId="{6E028D15-89A8-4B5C-B089-B60FB7A43F4E}" destId="{61FA124C-D6E5-4B74-ACAB-8BB4C44A3A94}" srcOrd="0" destOrd="0" presId="urn:microsoft.com/office/officeart/2008/layout/VerticalCurvedList"/>
    <dgm:cxn modelId="{8F1513BA-2349-41C6-BA62-80F9F2BA023B}" type="presParOf" srcId="{A34D5D88-6E3F-46CB-AF1E-B263F6B00409}" destId="{566F108F-D98D-4290-A496-E5CFFDB061B2}" srcOrd="5" destOrd="0" presId="urn:microsoft.com/office/officeart/2008/layout/VerticalCurvedList"/>
    <dgm:cxn modelId="{CF9CA9BE-7507-42D4-A891-91765DA0D0CE}" type="presParOf" srcId="{A34D5D88-6E3F-46CB-AF1E-B263F6B00409}" destId="{6C7DF550-FFB6-4E6C-B541-025887ACCE83}" srcOrd="6" destOrd="0" presId="urn:microsoft.com/office/officeart/2008/layout/VerticalCurvedList"/>
    <dgm:cxn modelId="{8A4B27B1-D9A0-454B-BA39-51BA662464FE}" type="presParOf" srcId="{6C7DF550-FFB6-4E6C-B541-025887ACCE83}" destId="{DD24DED0-4D1F-49A4-8B35-D4E637E17774}" srcOrd="0" destOrd="0" presId="urn:microsoft.com/office/officeart/2008/layout/VerticalCurvedList"/>
    <dgm:cxn modelId="{204A76AD-5A51-45A5-88A4-2218BE17ED2A}" type="presParOf" srcId="{A34D5D88-6E3F-46CB-AF1E-B263F6B00409}" destId="{5E644273-6F7B-4106-8A06-B9794EA4211D}" srcOrd="7" destOrd="0" presId="urn:microsoft.com/office/officeart/2008/layout/VerticalCurvedList"/>
    <dgm:cxn modelId="{25535661-F636-4962-9902-660036215E9F}" type="presParOf" srcId="{A34D5D88-6E3F-46CB-AF1E-B263F6B00409}" destId="{29E55A85-1327-4F1B-9344-C9B305CBFBFE}" srcOrd="8" destOrd="0" presId="urn:microsoft.com/office/officeart/2008/layout/VerticalCurvedList"/>
    <dgm:cxn modelId="{90B542C1-636B-486B-AA3A-C2B5B08EC400}" type="presParOf" srcId="{29E55A85-1327-4F1B-9344-C9B305CBFBFE}" destId="{E6EA1175-C66D-4141-AD1E-1591BAF5E701}" srcOrd="0" destOrd="0" presId="urn:microsoft.com/office/officeart/2008/layout/VerticalCurvedList"/>
    <dgm:cxn modelId="{577D6C48-7AA3-4E8E-B360-530D36F7A7A7}" type="presParOf" srcId="{A34D5D88-6E3F-46CB-AF1E-B263F6B00409}" destId="{C71536B3-0F2E-4EF1-99C4-8D11B53E894D}" srcOrd="9" destOrd="0" presId="urn:microsoft.com/office/officeart/2008/layout/VerticalCurvedList"/>
    <dgm:cxn modelId="{0EFD5884-628E-42D4-A474-F9A75CCCB2BC}" type="presParOf" srcId="{A34D5D88-6E3F-46CB-AF1E-B263F6B00409}" destId="{5EFC135C-2F3D-4E27-9045-BF3C17D322D0}" srcOrd="10" destOrd="0" presId="urn:microsoft.com/office/officeart/2008/layout/VerticalCurvedList"/>
    <dgm:cxn modelId="{B62716EA-D7EF-4DD3-959A-7DA5FCEF4E7E}" type="presParOf" srcId="{5EFC135C-2F3D-4E27-9045-BF3C17D322D0}" destId="{1DF7413E-AA1C-4462-BF7B-2BC9114CEA9D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D203BC-F0A8-4098-A873-6729A08B0EE0}">
      <dsp:nvSpPr>
        <dsp:cNvPr id="0" name=""/>
        <dsp:cNvSpPr/>
      </dsp:nvSpPr>
      <dsp:spPr>
        <a:xfrm>
          <a:off x="-4738021" y="-726251"/>
          <a:ext cx="5643504" cy="5643504"/>
        </a:xfrm>
        <a:prstGeom prst="blockArc">
          <a:avLst>
            <a:gd name="adj1" fmla="val 18900000"/>
            <a:gd name="adj2" fmla="val 2700000"/>
            <a:gd name="adj3" fmla="val 383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964FADD-DB7A-4645-9938-4918BD512552}">
      <dsp:nvSpPr>
        <dsp:cNvPr id="0" name=""/>
        <dsp:cNvSpPr/>
      </dsp:nvSpPr>
      <dsp:spPr>
        <a:xfrm>
          <a:off x="396273" y="261853"/>
          <a:ext cx="4804333" cy="524042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5959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500" b="0" i="0" kern="1200" cap="all" baseline="0" dirty="0">
              <a:latin typeface="BISansCond" panose="02000006050000020004" pitchFamily="2" charset="0"/>
              <a:ea typeface="+mj-ea"/>
              <a:cs typeface="Calibri" panose="020F0502020204030204" pitchFamily="34" charset="0"/>
            </a:rPr>
            <a:t>Problématique &amp; présentation des données</a:t>
          </a:r>
        </a:p>
      </dsp:txBody>
      <dsp:txXfrm>
        <a:off x="396273" y="261853"/>
        <a:ext cx="4804333" cy="524042"/>
      </dsp:txXfrm>
    </dsp:sp>
    <dsp:sp modelId="{FF01C037-832D-49BB-AA63-7D1979D0A2B9}">
      <dsp:nvSpPr>
        <dsp:cNvPr id="0" name=""/>
        <dsp:cNvSpPr/>
      </dsp:nvSpPr>
      <dsp:spPr>
        <a:xfrm>
          <a:off x="68747" y="196348"/>
          <a:ext cx="655053" cy="65505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1810338-CA9B-4C19-A94F-F5AA281B74E8}">
      <dsp:nvSpPr>
        <dsp:cNvPr id="0" name=""/>
        <dsp:cNvSpPr/>
      </dsp:nvSpPr>
      <dsp:spPr>
        <a:xfrm>
          <a:off x="771787" y="1047666"/>
          <a:ext cx="4428820" cy="524042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5959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500" b="0" i="0" kern="1200" cap="all" baseline="0" dirty="0">
              <a:latin typeface="BISansCond" panose="02000006050000020004" pitchFamily="2" charset="0"/>
              <a:ea typeface="+mj-ea"/>
              <a:cs typeface="Calibri" panose="020F0502020204030204" pitchFamily="34" charset="0"/>
            </a:rPr>
            <a:t>Prétraitements</a:t>
          </a:r>
        </a:p>
      </dsp:txBody>
      <dsp:txXfrm>
        <a:off x="771787" y="1047666"/>
        <a:ext cx="4428820" cy="524042"/>
      </dsp:txXfrm>
    </dsp:sp>
    <dsp:sp modelId="{61FA124C-D6E5-4B74-ACAB-8BB4C44A3A94}">
      <dsp:nvSpPr>
        <dsp:cNvPr id="0" name=""/>
        <dsp:cNvSpPr/>
      </dsp:nvSpPr>
      <dsp:spPr>
        <a:xfrm>
          <a:off x="444260" y="982160"/>
          <a:ext cx="655053" cy="65505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6F108F-D98D-4290-A496-E5CFFDB061B2}">
      <dsp:nvSpPr>
        <dsp:cNvPr id="0" name=""/>
        <dsp:cNvSpPr/>
      </dsp:nvSpPr>
      <dsp:spPr>
        <a:xfrm>
          <a:off x="887039" y="1833478"/>
          <a:ext cx="4313567" cy="524042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5959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500" b="0" i="0" kern="1200" cap="all" baseline="0" dirty="0">
              <a:latin typeface="BISansCond" panose="02000006050000020004" pitchFamily="2" charset="0"/>
              <a:ea typeface="+mj-ea"/>
              <a:cs typeface="Calibri" panose="020F0502020204030204" pitchFamily="34" charset="0"/>
            </a:rPr>
            <a:t>Approches de Modélisation</a:t>
          </a:r>
        </a:p>
      </dsp:txBody>
      <dsp:txXfrm>
        <a:off x="887039" y="1833478"/>
        <a:ext cx="4313567" cy="524042"/>
      </dsp:txXfrm>
    </dsp:sp>
    <dsp:sp modelId="{DD24DED0-4D1F-49A4-8B35-D4E637E17774}">
      <dsp:nvSpPr>
        <dsp:cNvPr id="0" name=""/>
        <dsp:cNvSpPr/>
      </dsp:nvSpPr>
      <dsp:spPr>
        <a:xfrm>
          <a:off x="559513" y="1767973"/>
          <a:ext cx="655053" cy="65505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E644273-6F7B-4106-8A06-B9794EA4211D}">
      <dsp:nvSpPr>
        <dsp:cNvPr id="0" name=""/>
        <dsp:cNvSpPr/>
      </dsp:nvSpPr>
      <dsp:spPr>
        <a:xfrm>
          <a:off x="771787" y="2619291"/>
          <a:ext cx="4428820" cy="524042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5959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500" b="0" i="0" kern="1200" cap="all" baseline="0" dirty="0">
              <a:latin typeface="BISansCond" panose="02000006050000020004" pitchFamily="2" charset="0"/>
              <a:ea typeface="+mj-ea"/>
              <a:cs typeface="Calibri" panose="020F0502020204030204" pitchFamily="34" charset="0"/>
            </a:rPr>
            <a:t>Dashboard interactif </a:t>
          </a:r>
        </a:p>
      </dsp:txBody>
      <dsp:txXfrm>
        <a:off x="771787" y="2619291"/>
        <a:ext cx="4428820" cy="524042"/>
      </dsp:txXfrm>
    </dsp:sp>
    <dsp:sp modelId="{E6EA1175-C66D-4141-AD1E-1591BAF5E701}">
      <dsp:nvSpPr>
        <dsp:cNvPr id="0" name=""/>
        <dsp:cNvSpPr/>
      </dsp:nvSpPr>
      <dsp:spPr>
        <a:xfrm>
          <a:off x="444260" y="2553785"/>
          <a:ext cx="655053" cy="65505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71536B3-0F2E-4EF1-99C4-8D11B53E894D}">
      <dsp:nvSpPr>
        <dsp:cNvPr id="0" name=""/>
        <dsp:cNvSpPr/>
      </dsp:nvSpPr>
      <dsp:spPr>
        <a:xfrm>
          <a:off x="396273" y="3405103"/>
          <a:ext cx="4804333" cy="524042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5959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500" b="0" i="0" kern="1200" cap="all" baseline="0" dirty="0">
              <a:latin typeface="BISansCond" panose="02000006050000020004" pitchFamily="2" charset="0"/>
              <a:ea typeface="+mj-ea"/>
              <a:cs typeface="Calibri" panose="020F0502020204030204" pitchFamily="34" charset="0"/>
            </a:rPr>
            <a:t>Questions &amp; réponses</a:t>
          </a:r>
        </a:p>
      </dsp:txBody>
      <dsp:txXfrm>
        <a:off x="396273" y="3405103"/>
        <a:ext cx="4804333" cy="524042"/>
      </dsp:txXfrm>
    </dsp:sp>
    <dsp:sp modelId="{1DF7413E-AA1C-4462-BF7B-2BC9114CEA9D}">
      <dsp:nvSpPr>
        <dsp:cNvPr id="0" name=""/>
        <dsp:cNvSpPr/>
      </dsp:nvSpPr>
      <dsp:spPr>
        <a:xfrm>
          <a:off x="68747" y="3339598"/>
          <a:ext cx="655053" cy="65505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3E434B01-E254-4A96-A920-9F0C589A526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ED165935-789F-40E3-AA17-12C86AC8EB4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04E2D2-4C9C-4D80-9658-A3CC3AB4C6B9}" type="datetimeFigureOut">
              <a:rPr lang="fr-FR" smtClean="0"/>
              <a:t>31/05/2022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094FB6B-BD14-43C5-9D87-D81CD70082E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0077412-E604-4212-ADCB-6FE5ECEF40E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77825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36B14A-8D55-457B-A175-8955D4CB417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248696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763C95-059F-4C5B-BE1F-F7B45004BD22}" type="datetimeFigureOut">
              <a:rPr lang="en-US" smtClean="0"/>
              <a:t>5/3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EC8280-D4BA-4712-8977-73C7DAAADF83}" type="slidenum">
              <a:rPr lang="en-US" smtClean="0"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92551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864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722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584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444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305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165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027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888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EC8280-D4BA-4712-8977-73C7DAAADF8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38212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6" Type="http://schemas.openxmlformats.org/officeDocument/2006/relationships/image" Target="../media/image9.gif"/><Relationship Id="rId5" Type="http://schemas.openxmlformats.org/officeDocument/2006/relationships/image" Target="../media/image8.jpeg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5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5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3.xml"/><Relationship Id="rId6" Type="http://schemas.openxmlformats.org/officeDocument/2006/relationships/image" Target="../media/image9.gif"/><Relationship Id="rId5" Type="http://schemas.openxmlformats.org/officeDocument/2006/relationships/image" Target="../media/image8.jpeg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4.xml"/><Relationship Id="rId4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.xml"/><Relationship Id="rId6" Type="http://schemas.openxmlformats.org/officeDocument/2006/relationships/image" Target="../media/image9.gif"/><Relationship Id="rId5" Type="http://schemas.openxmlformats.org/officeDocument/2006/relationships/image" Target="../media/image8.jpeg"/><Relationship Id="rId4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.xml"/><Relationship Id="rId4" Type="http://schemas.openxmlformats.org/officeDocument/2006/relationships/image" Target="../media/image5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9.xml"/><Relationship Id="rId6" Type="http://schemas.openxmlformats.org/officeDocument/2006/relationships/image" Target="../media/image9.gif"/><Relationship Id="rId5" Type="http://schemas.openxmlformats.org/officeDocument/2006/relationships/image" Target="../media/image8.jpeg"/><Relationship Id="rId4" Type="http://schemas.openxmlformats.org/officeDocument/2006/relationships/image" Target="../media/image2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0.xml"/><Relationship Id="rId4" Type="http://schemas.openxmlformats.org/officeDocument/2006/relationships/image" Target="../media/image5.emf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689198"/>
              </p:ext>
            </p:extLst>
          </p:nvPr>
        </p:nvGraphicFramePr>
        <p:xfrm>
          <a:off x="1703" y="17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03" y="170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220" descr="D:\Team members\Don't Delete_Mithun\2016\01 January\28-01-2016\FT1764\Cover-01.jpg"/>
          <p:cNvPicPr>
            <a:picLocks noChangeAspect="1" noChangeArrowheads="1"/>
          </p:cNvPicPr>
          <p:nvPr userDrawn="1"/>
        </p:nvPicPr>
        <p:blipFill rotWithShape="1">
          <a:blip r:embed="rId5" cstate="email">
            <a:duotone>
              <a:prstClr val="black"/>
              <a:srgbClr val="6600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58568" b="-56375"/>
          <a:stretch/>
        </p:blipFill>
        <p:spPr bwMode="ltGray">
          <a:xfrm>
            <a:off x="0" y="4022634"/>
            <a:ext cx="9144000" cy="6797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631738" y="6039443"/>
            <a:ext cx="4727576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31738" y="3949083"/>
            <a:ext cx="4727576" cy="984884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31738" y="5199240"/>
            <a:ext cx="4727576" cy="282625"/>
          </a:xfrm>
        </p:spPr>
        <p:txBody>
          <a:bodyPr wrap="square">
            <a:spAutoFit/>
          </a:bodyPr>
          <a:lstStyle>
            <a:lvl1pPr>
              <a:defRPr sz="18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228600" y="6655723"/>
            <a:ext cx="6841963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l" defTabSz="9137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dirty="0">
                <a:solidFill>
                  <a:schemeClr val="bg1"/>
                </a:solidFill>
              </a:rPr>
              <a:t>Ibtissam Radi – Parcours Data scientist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700" dirty="0">
              <a:solidFill>
                <a:srgbClr val="FFFFFF"/>
              </a:solidFill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F5DF023-C940-46C2-A8B8-55EE541B492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3068"/>
            <a:ext cx="3048000" cy="418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4420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COEUR BLANC 01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698136" y="6626053"/>
            <a:ext cx="120993" cy="96897"/>
          </a:xfrm>
          <a:prstGeom prst="rect">
            <a:avLst/>
          </a:prstGeom>
        </p:spPr>
      </p:pic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DFC78181-C633-4632-80EE-F5D29792CFFA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565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6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6242453"/>
              </p:ext>
            </p:extLst>
          </p:nvPr>
        </p:nvGraphicFramePr>
        <p:xfrm>
          <a:off x="1703" y="17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03" y="170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220" descr="D:\Team members\Don't Delete_Mithun\2016\01 January\28-01-2016\FT1764\Cover-01.jp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0" y="-92166"/>
            <a:ext cx="9144000" cy="6950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31852" y="220285"/>
            <a:ext cx="1312071" cy="388739"/>
          </a:xfrm>
          <a:prstGeom prst="rect">
            <a:avLst/>
          </a:prstGeom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631738" y="6039443"/>
            <a:ext cx="4727576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81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81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31738" y="3949083"/>
            <a:ext cx="4727576" cy="984884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31738" y="5199240"/>
            <a:ext cx="4727576" cy="282625"/>
          </a:xfrm>
        </p:spPr>
        <p:txBody>
          <a:bodyPr wrap="square">
            <a:spAutoFit/>
          </a:bodyPr>
          <a:lstStyle>
            <a:lvl1pPr>
              <a:defRPr sz="18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174946" y="6546014"/>
            <a:ext cx="6841963" cy="2198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defTabSz="913818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PRIVILEGED AND CONFIDENTIAL – ATTORNEY WORK PRODUCT – A/C PRIVILEGED</a:t>
            </a:r>
          </a:p>
          <a:p>
            <a:pPr defTabSz="913818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For integration preparation purposes only. All proposals will be subject to appropriate consultation where applicable with employees and employee representative bodies.</a:t>
            </a:r>
          </a:p>
        </p:txBody>
      </p:sp>
    </p:spTree>
    <p:extLst>
      <p:ext uri="{BB962C8B-B14F-4D97-AF65-F5344CB8AC3E}">
        <p14:creationId xmlns:p14="http://schemas.microsoft.com/office/powerpoint/2010/main" val="12918118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9889645"/>
              </p:ext>
            </p:extLst>
          </p:nvPr>
        </p:nvGraphicFramePr>
        <p:xfrm>
          <a:off x="1735" y="173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35" y="173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174946" y="6546014"/>
            <a:ext cx="6841963" cy="2198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defTabSz="913818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PRIVILEGED AND CONFIDENTIAL – ATTORNEY WORK PRODUCT – A/C PRIVILEGED</a:t>
            </a:r>
          </a:p>
          <a:p>
            <a:pPr defTabSz="913818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For integration preparation purposes only. All proposals will be subject to appropriate consultation where applicable with employees and employee representative bodies.</a:t>
            </a:r>
          </a:p>
        </p:txBody>
      </p:sp>
    </p:spTree>
    <p:extLst>
      <p:ext uri="{BB962C8B-B14F-4D97-AF65-F5344CB8AC3E}">
        <p14:creationId xmlns:p14="http://schemas.microsoft.com/office/powerpoint/2010/main" val="35400284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57819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923" y="427027"/>
            <a:ext cx="8666145" cy="786121"/>
          </a:xfrm>
        </p:spPr>
        <p:txBody>
          <a:bodyPr>
            <a:noAutofit/>
          </a:bodyPr>
          <a:lstStyle>
            <a:lvl1pPr algn="l">
              <a:lnSpc>
                <a:spcPts val="2400"/>
              </a:lnSpc>
              <a:defRPr sz="2400" b="1" i="0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0667919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Slides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1498" y="283651"/>
            <a:ext cx="7145786" cy="597536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lnSpc>
                <a:spcPct val="70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"/>
          </p:nvPr>
        </p:nvSpPr>
        <p:spPr>
          <a:xfrm>
            <a:off x="271645" y="1494563"/>
            <a:ext cx="8624085" cy="551698"/>
          </a:xfrm>
          <a:prstGeom prst="rect">
            <a:avLst/>
          </a:prstGeom>
        </p:spPr>
        <p:txBody>
          <a:bodyPr lIns="78934" tIns="39470" rIns="78934" bIns="39470"/>
          <a:lstStyle>
            <a:lvl1pPr marL="152094" indent="-152094">
              <a:buClr>
                <a:schemeClr val="accent1"/>
              </a:buClr>
              <a:buFont typeface="Wingdings" pitchFamily="2" charset="2"/>
              <a:buChar char=""/>
              <a:defRPr sz="1000">
                <a:latin typeface="Calibri" pitchFamily="34" charset="0"/>
                <a:cs typeface="Calibri" pitchFamily="34" charset="0"/>
              </a:defRPr>
            </a:lvl1pPr>
            <a:lvl2pPr marL="313792" indent="-161691">
              <a:buClr>
                <a:schemeClr val="accent1"/>
              </a:buClr>
              <a:buSzPct val="90000"/>
              <a:buFont typeface="Wingdings" pitchFamily="2" charset="2"/>
              <a:buChar char="n"/>
              <a:defRPr sz="1000">
                <a:latin typeface="Calibri" pitchFamily="34" charset="0"/>
                <a:cs typeface="Calibri" pitchFamily="34" charset="0"/>
              </a:defRPr>
            </a:lvl2pPr>
            <a:lvl3pPr marL="475525" indent="-161691">
              <a:buClr>
                <a:schemeClr val="accent1"/>
              </a:buClr>
              <a:buSzPct val="80000"/>
              <a:buFont typeface="Wingdings" pitchFamily="2" charset="2"/>
              <a:buChar char="n"/>
              <a:defRPr sz="1000">
                <a:latin typeface="Calibri" pitchFamily="34" charset="0"/>
                <a:cs typeface="Calibri" pitchFamily="34" charset="0"/>
              </a:defRPr>
            </a:lvl3pPr>
            <a:lvl4pPr marL="619334" indent="-153445">
              <a:defRPr sz="1000">
                <a:latin typeface="Calibri" pitchFamily="34" charset="0"/>
                <a:cs typeface="Calibri" pitchFamily="34" charset="0"/>
              </a:defRPr>
            </a:lvl4pPr>
            <a:lvl5pPr marL="771433" indent="-152094">
              <a:buClr>
                <a:schemeClr val="accent1"/>
              </a:buClr>
              <a:buFont typeface="Arial" pitchFamily="34" charset="0"/>
              <a:buChar char="•"/>
              <a:defRPr sz="10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589052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.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925" y="248898"/>
            <a:ext cx="8666145" cy="786121"/>
          </a:xfrm>
        </p:spPr>
        <p:txBody>
          <a:bodyPr>
            <a:noAutofit/>
          </a:bodyPr>
          <a:lstStyle>
            <a:lvl1pPr algn="l">
              <a:lnSpc>
                <a:spcPts val="2400"/>
              </a:lnSpc>
              <a:defRPr sz="2400" b="1" i="0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4836138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81471" y="835175"/>
            <a:ext cx="6783369" cy="3667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1750" indent="0">
              <a:buNone/>
              <a:defRPr/>
            </a:lvl2pPr>
            <a:lvl3pPr marL="903512" indent="0">
              <a:buNone/>
              <a:defRPr/>
            </a:lvl3pPr>
            <a:lvl4pPr marL="1355268" indent="0">
              <a:buNone/>
              <a:defRPr/>
            </a:lvl4pPr>
            <a:lvl5pPr marL="1807023" indent="0">
              <a:buNone/>
              <a:defRPr/>
            </a:lvl5pPr>
          </a:lstStyle>
          <a:p>
            <a:pPr lvl="0"/>
            <a:r>
              <a:rPr lang="en-US" dirty="0"/>
              <a:t>Click to edit Master Subhead styles</a:t>
            </a:r>
          </a:p>
        </p:txBody>
      </p:sp>
    </p:spTree>
    <p:extLst>
      <p:ext uri="{BB962C8B-B14F-4D97-AF65-F5344CB8AC3E}">
        <p14:creationId xmlns:p14="http://schemas.microsoft.com/office/powerpoint/2010/main" val="3659186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2048" y="1364557"/>
            <a:ext cx="8229600" cy="1256112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430776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47868" y="2182090"/>
            <a:ext cx="8234170" cy="3628338"/>
          </a:xfrm>
        </p:spPr>
        <p:txBody>
          <a:bodyPr>
            <a:noAutofit/>
          </a:bodyPr>
          <a:lstStyle>
            <a:lvl1pPr>
              <a:spcBef>
                <a:spcPts val="1500"/>
              </a:spcBef>
              <a:defRPr sz="1800"/>
            </a:lvl1pPr>
            <a:lvl2pPr marL="506664" indent="-174116">
              <a:spcBef>
                <a:spcPts val="700"/>
              </a:spcBef>
              <a:buFont typeface="Arial" panose="020B0604020202020204" pitchFamily="34" charset="0"/>
              <a:buChar char="–"/>
              <a:defRPr sz="1600"/>
            </a:lvl2pPr>
            <a:lvl3pPr marL="792144" indent="-166273">
              <a:spcBef>
                <a:spcPts val="300"/>
              </a:spcBef>
              <a:defRPr sz="1400"/>
            </a:lvl3pPr>
            <a:lvl4pPr marL="1069787" indent="-166273">
              <a:spcBef>
                <a:spcPts val="200"/>
              </a:spcBef>
              <a:buFont typeface="Arial" panose="020B0604020202020204" pitchFamily="34" charset="0"/>
              <a:buChar char="–"/>
              <a:defRPr sz="1200"/>
            </a:lvl4pPr>
            <a:lvl5pPr marL="1355268" indent="-167841">
              <a:spcBef>
                <a:spcPts val="100"/>
              </a:spcBef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7882" y="1433805"/>
            <a:ext cx="8245281" cy="67170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1750" indent="0">
              <a:buNone/>
              <a:defRPr sz="2000" b="1"/>
            </a:lvl2pPr>
            <a:lvl3pPr marL="903512" indent="0">
              <a:buNone/>
              <a:defRPr sz="1800" b="1"/>
            </a:lvl3pPr>
            <a:lvl4pPr marL="1355268" indent="0">
              <a:buNone/>
              <a:defRPr sz="1600" b="1"/>
            </a:lvl4pPr>
            <a:lvl5pPr marL="1807023" indent="0">
              <a:buNone/>
              <a:defRPr sz="1600" b="1"/>
            </a:lvl5pPr>
            <a:lvl6pPr marL="2258781" indent="0">
              <a:buNone/>
              <a:defRPr sz="1600" b="1"/>
            </a:lvl6pPr>
            <a:lvl7pPr marL="2710541" indent="0">
              <a:buNone/>
              <a:defRPr sz="1600" b="1"/>
            </a:lvl7pPr>
            <a:lvl8pPr marL="3162295" indent="0">
              <a:buNone/>
              <a:defRPr sz="1600" b="1"/>
            </a:lvl8pPr>
            <a:lvl9pPr marL="361404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57200" y="5922151"/>
            <a:ext cx="7616536" cy="214226"/>
          </a:xfrm>
        </p:spPr>
        <p:txBody>
          <a:bodyPr wrap="square" anchor="b" anchorCtr="0">
            <a:noAutofit/>
          </a:bodyPr>
          <a:lstStyle>
            <a:lvl1pPr marL="0" indent="0">
              <a:lnSpc>
                <a:spcPct val="88000"/>
              </a:lnSpc>
              <a:spcBef>
                <a:spcPts val="120"/>
              </a:spcBef>
              <a:buNone/>
              <a:tabLst/>
              <a:defRPr sz="800"/>
            </a:lvl1pPr>
            <a:lvl2pPr marL="451750" indent="0">
              <a:buNone/>
              <a:defRPr/>
            </a:lvl2pPr>
            <a:lvl3pPr marL="903512" indent="0">
              <a:buNone/>
              <a:defRPr/>
            </a:lvl3pPr>
            <a:lvl4pPr marL="1243900" indent="0">
              <a:buNone/>
              <a:defRPr/>
            </a:lvl4pPr>
            <a:lvl5pPr marL="1639184" indent="0">
              <a:buNone/>
              <a:defRPr/>
            </a:lvl5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21" y="847159"/>
            <a:ext cx="8220142" cy="355482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2"/>
                </a:solidFill>
              </a:defRPr>
            </a:lvl1pPr>
            <a:lvl2pPr marL="451750" indent="0">
              <a:buNone/>
              <a:defRPr/>
            </a:lvl2pPr>
            <a:lvl3pPr marL="903512" indent="0">
              <a:buNone/>
              <a:defRPr/>
            </a:lvl3pPr>
            <a:lvl4pPr marL="1243900" indent="0">
              <a:buNone/>
              <a:defRPr/>
            </a:lvl4pPr>
            <a:lvl5pPr marL="1639184" indent="0"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914898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9046267"/>
              </p:ext>
            </p:extLst>
          </p:nvPr>
        </p:nvGraphicFramePr>
        <p:xfrm>
          <a:off x="1735" y="173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35" y="173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174946" y="6546014"/>
            <a:ext cx="6841963" cy="2198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PRIVILEGED AND CONFIDENTIAL – ATTORNEY WORK PRODUCT – A/C PRIVILEGED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For integration preparation purposes only. All proposals will be subject to appropriate consultation where applicable with employees and employee representative bodies.</a:t>
            </a:r>
          </a:p>
        </p:txBody>
      </p:sp>
    </p:spTree>
    <p:extLst>
      <p:ext uri="{BB962C8B-B14F-4D97-AF65-F5344CB8AC3E}">
        <p14:creationId xmlns:p14="http://schemas.microsoft.com/office/powerpoint/2010/main" val="13962836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923" y="427022"/>
            <a:ext cx="8666145" cy="786121"/>
          </a:xfrm>
        </p:spPr>
        <p:txBody>
          <a:bodyPr>
            <a:noAutofit/>
          </a:bodyPr>
          <a:lstStyle>
            <a:lvl1pPr algn="l">
              <a:lnSpc>
                <a:spcPts val="2400"/>
              </a:lnSpc>
              <a:defRPr sz="2400" b="1" i="0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5923" y="1573621"/>
            <a:ext cx="8666145" cy="137125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55717" indent="-177860">
              <a:spcBef>
                <a:spcPts val="400"/>
              </a:spcBef>
              <a:buClr>
                <a:srgbClr val="0CAD9F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533571" indent="-177860">
              <a:spcBef>
                <a:spcPts val="400"/>
              </a:spcBef>
              <a:buClr>
                <a:srgbClr val="0CAD9F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711438" indent="-177860">
              <a:spcBef>
                <a:spcPts val="400"/>
              </a:spcBef>
              <a:buClr>
                <a:srgbClr val="0CAD9F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889285" indent="-177860">
              <a:spcBef>
                <a:spcPts val="400"/>
              </a:spcBef>
              <a:buClr>
                <a:srgbClr val="0CAD9F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2908326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ltGray">
          <a:xfrm>
            <a:off x="3239" y="6402452"/>
            <a:ext cx="9140760" cy="379385"/>
          </a:xfrm>
          <a:prstGeom prst="rect">
            <a:avLst/>
          </a:prstGeom>
          <a:solidFill>
            <a:srgbClr val="285888"/>
          </a:solidFill>
          <a:ln w="9525">
            <a:solidFill>
              <a:srgbClr val="28588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3186" tIns="46594" rIns="93186" bIns="46594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70198"/>
            <a:endParaRPr lang="en-US" sz="1000" b="1" kern="0" dirty="0">
              <a:solidFill>
                <a:srgbClr val="FFFFFF"/>
              </a:solidFill>
              <a:latin typeface="BISansCond"/>
              <a:cs typeface="Arial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 bwMode="ltGray">
          <a:xfrm>
            <a:off x="3239" y="6781839"/>
            <a:ext cx="9140760" cy="74551"/>
          </a:xfrm>
          <a:prstGeom prst="rect">
            <a:avLst/>
          </a:prstGeom>
          <a:solidFill>
            <a:srgbClr val="003366"/>
          </a:solidFill>
          <a:ln w="9525">
            <a:solidFill>
              <a:srgbClr val="00336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3186" tIns="46594" rIns="93186" bIns="46594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70198"/>
            <a:endParaRPr lang="en-US" sz="1000" b="1" kern="0" dirty="0">
              <a:solidFill>
                <a:srgbClr val="FFFFFF"/>
              </a:solidFill>
              <a:latin typeface="BISansCond"/>
              <a:cs typeface="Arial" pitchFamily="34" charset="0"/>
            </a:endParaRPr>
          </a:p>
        </p:txBody>
      </p:sp>
      <p:grpSp>
        <p:nvGrpSpPr>
          <p:cNvPr id="4" name="Group 3"/>
          <p:cNvGrpSpPr/>
          <p:nvPr userDrawn="1"/>
        </p:nvGrpSpPr>
        <p:grpSpPr bwMode="auto">
          <a:xfrm>
            <a:off x="7607998" y="6445567"/>
            <a:ext cx="1020082" cy="308657"/>
            <a:chOff x="2103438" y="-793750"/>
            <a:chExt cx="1893887" cy="573087"/>
          </a:xfrm>
        </p:grpSpPr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2755900" y="-768350"/>
              <a:ext cx="401637" cy="547687"/>
            </a:xfrm>
            <a:custGeom>
              <a:avLst/>
              <a:gdLst>
                <a:gd name="T0" fmla="*/ 13 w 107"/>
                <a:gd name="T1" fmla="*/ 4 h 146"/>
                <a:gd name="T2" fmla="*/ 26 w 107"/>
                <a:gd name="T3" fmla="*/ 13 h 146"/>
                <a:gd name="T4" fmla="*/ 13 w 107"/>
                <a:gd name="T5" fmla="*/ 24 h 146"/>
                <a:gd name="T6" fmla="*/ 0 w 107"/>
                <a:gd name="T7" fmla="*/ 1 h 146"/>
                <a:gd name="T8" fmla="*/ 5 w 107"/>
                <a:gd name="T9" fmla="*/ 5 h 146"/>
                <a:gd name="T10" fmla="*/ 0 w 107"/>
                <a:gd name="T11" fmla="*/ 50 h 146"/>
                <a:gd name="T12" fmla="*/ 9 w 107"/>
                <a:gd name="T13" fmla="*/ 53 h 146"/>
                <a:gd name="T14" fmla="*/ 19 w 107"/>
                <a:gd name="T15" fmla="*/ 54 h 146"/>
                <a:gd name="T16" fmla="*/ 38 w 107"/>
                <a:gd name="T17" fmla="*/ 40 h 146"/>
                <a:gd name="T18" fmla="*/ 35 w 107"/>
                <a:gd name="T19" fmla="*/ 13 h 146"/>
                <a:gd name="T20" fmla="*/ 15 w 107"/>
                <a:gd name="T21" fmla="*/ 0 h 146"/>
                <a:gd name="T22" fmla="*/ 13 w 107"/>
                <a:gd name="T23" fmla="*/ 28 h 146"/>
                <a:gd name="T24" fmla="*/ 29 w 107"/>
                <a:gd name="T25" fmla="*/ 39 h 146"/>
                <a:gd name="T26" fmla="*/ 13 w 107"/>
                <a:gd name="T27" fmla="*/ 49 h 146"/>
                <a:gd name="T28" fmla="*/ 59 w 107"/>
                <a:gd name="T29" fmla="*/ 15 h 146"/>
                <a:gd name="T30" fmla="*/ 59 w 107"/>
                <a:gd name="T31" fmla="*/ 54 h 146"/>
                <a:gd name="T32" fmla="*/ 59 w 107"/>
                <a:gd name="T33" fmla="*/ 15 h 146"/>
                <a:gd name="T34" fmla="*/ 66 w 107"/>
                <a:gd name="T35" fmla="*/ 33 h 146"/>
                <a:gd name="T36" fmla="*/ 52 w 107"/>
                <a:gd name="T37" fmla="*/ 35 h 146"/>
                <a:gd name="T38" fmla="*/ 107 w 107"/>
                <a:gd name="T39" fmla="*/ 34 h 146"/>
                <a:gd name="T40" fmla="*/ 80 w 107"/>
                <a:gd name="T41" fmla="*/ 36 h 146"/>
                <a:gd name="T42" fmla="*/ 107 w 107"/>
                <a:gd name="T43" fmla="*/ 45 h 146"/>
                <a:gd name="T44" fmla="*/ 96 w 107"/>
                <a:gd name="T45" fmla="*/ 49 h 146"/>
                <a:gd name="T46" fmla="*/ 107 w 107"/>
                <a:gd name="T47" fmla="*/ 34 h 146"/>
                <a:gd name="T48" fmla="*/ 94 w 107"/>
                <a:gd name="T49" fmla="*/ 19 h 146"/>
                <a:gd name="T50" fmla="*/ 87 w 107"/>
                <a:gd name="T51" fmla="*/ 30 h 146"/>
                <a:gd name="T52" fmla="*/ 17 w 107"/>
                <a:gd name="T53" fmla="*/ 129 h 146"/>
                <a:gd name="T54" fmla="*/ 13 w 107"/>
                <a:gd name="T55" fmla="*/ 83 h 146"/>
                <a:gd name="T56" fmla="*/ 18 w 107"/>
                <a:gd name="T57" fmla="*/ 79 h 146"/>
                <a:gd name="T58" fmla="*/ 0 w 107"/>
                <a:gd name="T59" fmla="*/ 82 h 146"/>
                <a:gd name="T60" fmla="*/ 5 w 107"/>
                <a:gd name="T61" fmla="*/ 128 h 146"/>
                <a:gd name="T62" fmla="*/ 0 w 107"/>
                <a:gd name="T63" fmla="*/ 132 h 146"/>
                <a:gd name="T64" fmla="*/ 57 w 107"/>
                <a:gd name="T65" fmla="*/ 132 h 146"/>
                <a:gd name="T66" fmla="*/ 53 w 107"/>
                <a:gd name="T67" fmla="*/ 128 h 146"/>
                <a:gd name="T68" fmla="*/ 44 w 107"/>
                <a:gd name="T69" fmla="*/ 94 h 146"/>
                <a:gd name="T70" fmla="*/ 34 w 107"/>
                <a:gd name="T71" fmla="*/ 94 h 146"/>
                <a:gd name="T72" fmla="*/ 23 w 107"/>
                <a:gd name="T73" fmla="*/ 96 h 146"/>
                <a:gd name="T74" fmla="*/ 27 w 107"/>
                <a:gd name="T75" fmla="*/ 100 h 146"/>
                <a:gd name="T76" fmla="*/ 23 w 107"/>
                <a:gd name="T77" fmla="*/ 129 h 146"/>
                <a:gd name="T78" fmla="*/ 38 w 107"/>
                <a:gd name="T79" fmla="*/ 132 h 146"/>
                <a:gd name="T80" fmla="*/ 34 w 107"/>
                <a:gd name="T81" fmla="*/ 128 h 146"/>
                <a:gd name="T82" fmla="*/ 42 w 107"/>
                <a:gd name="T83" fmla="*/ 99 h 146"/>
                <a:gd name="T84" fmla="*/ 46 w 107"/>
                <a:gd name="T85" fmla="*/ 128 h 146"/>
                <a:gd name="T86" fmla="*/ 42 w 107"/>
                <a:gd name="T87" fmla="*/ 132 h 146"/>
                <a:gd name="T88" fmla="*/ 93 w 107"/>
                <a:gd name="T89" fmla="*/ 99 h 146"/>
                <a:gd name="T90" fmla="*/ 87 w 107"/>
                <a:gd name="T91" fmla="*/ 95 h 146"/>
                <a:gd name="T92" fmla="*/ 84 w 107"/>
                <a:gd name="T93" fmla="*/ 95 h 146"/>
                <a:gd name="T94" fmla="*/ 76 w 107"/>
                <a:gd name="T95" fmla="*/ 93 h 146"/>
                <a:gd name="T96" fmla="*/ 70 w 107"/>
                <a:gd name="T97" fmla="*/ 117 h 146"/>
                <a:gd name="T98" fmla="*/ 67 w 107"/>
                <a:gd name="T99" fmla="*/ 130 h 146"/>
                <a:gd name="T100" fmla="*/ 75 w 107"/>
                <a:gd name="T101" fmla="*/ 146 h 146"/>
                <a:gd name="T102" fmla="*/ 82 w 107"/>
                <a:gd name="T103" fmla="*/ 124 h 146"/>
                <a:gd name="T104" fmla="*/ 70 w 107"/>
                <a:gd name="T105" fmla="*/ 122 h 146"/>
                <a:gd name="T106" fmla="*/ 77 w 107"/>
                <a:gd name="T107" fmla="*/ 119 h 146"/>
                <a:gd name="T108" fmla="*/ 87 w 107"/>
                <a:gd name="T109" fmla="*/ 99 h 146"/>
                <a:gd name="T110" fmla="*/ 76 w 107"/>
                <a:gd name="T111" fmla="*/ 97 h 146"/>
                <a:gd name="T112" fmla="*/ 77 w 107"/>
                <a:gd name="T113" fmla="*/ 115 h 146"/>
                <a:gd name="T114" fmla="*/ 76 w 107"/>
                <a:gd name="T115" fmla="*/ 97 h 146"/>
                <a:gd name="T116" fmla="*/ 88 w 107"/>
                <a:gd name="T117" fmla="*/ 135 h 146"/>
                <a:gd name="T118" fmla="*/ 68 w 107"/>
                <a:gd name="T119" fmla="*/ 136 h 146"/>
                <a:gd name="T120" fmla="*/ 74 w 107"/>
                <a:gd name="T121" fmla="*/ 131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7" h="146">
                  <a:moveTo>
                    <a:pt x="13" y="24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15" y="4"/>
                    <a:pt x="16" y="3"/>
                    <a:pt x="17" y="3"/>
                  </a:cubicBezTo>
                  <a:cubicBezTo>
                    <a:pt x="23" y="3"/>
                    <a:pt x="26" y="7"/>
                    <a:pt x="26" y="13"/>
                  </a:cubicBezTo>
                  <a:cubicBezTo>
                    <a:pt x="26" y="21"/>
                    <a:pt x="23" y="24"/>
                    <a:pt x="16" y="24"/>
                  </a:cubicBezTo>
                  <a:cubicBezTo>
                    <a:pt x="13" y="24"/>
                    <a:pt x="13" y="24"/>
                    <a:pt x="13" y="24"/>
                  </a:cubicBezTo>
                  <a:close/>
                  <a:moveTo>
                    <a:pt x="9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10" y="53"/>
                    <a:pt x="12" y="53"/>
                    <a:pt x="15" y="54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5" y="54"/>
                    <a:pt x="27" y="53"/>
                    <a:pt x="30" y="52"/>
                  </a:cubicBezTo>
                  <a:cubicBezTo>
                    <a:pt x="35" y="50"/>
                    <a:pt x="38" y="45"/>
                    <a:pt x="38" y="40"/>
                  </a:cubicBezTo>
                  <a:cubicBezTo>
                    <a:pt x="38" y="32"/>
                    <a:pt x="34" y="27"/>
                    <a:pt x="26" y="25"/>
                  </a:cubicBezTo>
                  <a:cubicBezTo>
                    <a:pt x="32" y="22"/>
                    <a:pt x="35" y="18"/>
                    <a:pt x="35" y="13"/>
                  </a:cubicBezTo>
                  <a:cubicBezTo>
                    <a:pt x="35" y="5"/>
                    <a:pt x="29" y="0"/>
                    <a:pt x="20" y="0"/>
                  </a:cubicBezTo>
                  <a:cubicBezTo>
                    <a:pt x="20" y="0"/>
                    <a:pt x="18" y="0"/>
                    <a:pt x="15" y="0"/>
                  </a:cubicBezTo>
                  <a:cubicBezTo>
                    <a:pt x="9" y="1"/>
                    <a:pt x="9" y="1"/>
                    <a:pt x="9" y="1"/>
                  </a:cubicBezTo>
                  <a:close/>
                  <a:moveTo>
                    <a:pt x="13" y="28"/>
                  </a:moveTo>
                  <a:cubicBezTo>
                    <a:pt x="16" y="28"/>
                    <a:pt x="16" y="28"/>
                    <a:pt x="16" y="28"/>
                  </a:cubicBezTo>
                  <a:cubicBezTo>
                    <a:pt x="25" y="28"/>
                    <a:pt x="29" y="31"/>
                    <a:pt x="29" y="39"/>
                  </a:cubicBezTo>
                  <a:cubicBezTo>
                    <a:pt x="29" y="46"/>
                    <a:pt x="25" y="50"/>
                    <a:pt x="17" y="50"/>
                  </a:cubicBezTo>
                  <a:cubicBezTo>
                    <a:pt x="15" y="50"/>
                    <a:pt x="14" y="50"/>
                    <a:pt x="13" y="49"/>
                  </a:cubicBezTo>
                  <a:cubicBezTo>
                    <a:pt x="13" y="28"/>
                    <a:pt x="13" y="28"/>
                    <a:pt x="13" y="28"/>
                  </a:cubicBezTo>
                  <a:close/>
                  <a:moveTo>
                    <a:pt x="59" y="15"/>
                  </a:moveTo>
                  <a:cubicBezTo>
                    <a:pt x="50" y="15"/>
                    <a:pt x="44" y="23"/>
                    <a:pt x="44" y="35"/>
                  </a:cubicBezTo>
                  <a:cubicBezTo>
                    <a:pt x="44" y="46"/>
                    <a:pt x="50" y="54"/>
                    <a:pt x="59" y="54"/>
                  </a:cubicBezTo>
                  <a:cubicBezTo>
                    <a:pt x="68" y="54"/>
                    <a:pt x="74" y="46"/>
                    <a:pt x="74" y="34"/>
                  </a:cubicBezTo>
                  <a:cubicBezTo>
                    <a:pt x="74" y="23"/>
                    <a:pt x="68" y="15"/>
                    <a:pt x="59" y="15"/>
                  </a:cubicBezTo>
                  <a:close/>
                  <a:moveTo>
                    <a:pt x="59" y="19"/>
                  </a:moveTo>
                  <a:cubicBezTo>
                    <a:pt x="63" y="19"/>
                    <a:pt x="66" y="24"/>
                    <a:pt x="66" y="33"/>
                  </a:cubicBezTo>
                  <a:cubicBezTo>
                    <a:pt x="66" y="44"/>
                    <a:pt x="63" y="50"/>
                    <a:pt x="59" y="50"/>
                  </a:cubicBezTo>
                  <a:cubicBezTo>
                    <a:pt x="54" y="50"/>
                    <a:pt x="52" y="45"/>
                    <a:pt x="52" y="35"/>
                  </a:cubicBezTo>
                  <a:cubicBezTo>
                    <a:pt x="52" y="25"/>
                    <a:pt x="55" y="19"/>
                    <a:pt x="59" y="19"/>
                  </a:cubicBezTo>
                  <a:close/>
                  <a:moveTo>
                    <a:pt x="107" y="34"/>
                  </a:moveTo>
                  <a:cubicBezTo>
                    <a:pt x="107" y="21"/>
                    <a:pt x="103" y="15"/>
                    <a:pt x="94" y="15"/>
                  </a:cubicBezTo>
                  <a:cubicBezTo>
                    <a:pt x="85" y="15"/>
                    <a:pt x="80" y="23"/>
                    <a:pt x="80" y="36"/>
                  </a:cubicBezTo>
                  <a:cubicBezTo>
                    <a:pt x="80" y="48"/>
                    <a:pt x="85" y="54"/>
                    <a:pt x="94" y="54"/>
                  </a:cubicBezTo>
                  <a:cubicBezTo>
                    <a:pt x="100" y="54"/>
                    <a:pt x="103" y="52"/>
                    <a:pt x="107" y="45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1" y="47"/>
                    <a:pt x="99" y="49"/>
                    <a:pt x="96" y="49"/>
                  </a:cubicBezTo>
                  <a:cubicBezTo>
                    <a:pt x="91" y="49"/>
                    <a:pt x="88" y="44"/>
                    <a:pt x="87" y="34"/>
                  </a:cubicBezTo>
                  <a:cubicBezTo>
                    <a:pt x="107" y="34"/>
                    <a:pt x="107" y="34"/>
                    <a:pt x="107" y="34"/>
                  </a:cubicBezTo>
                  <a:close/>
                  <a:moveTo>
                    <a:pt x="87" y="30"/>
                  </a:moveTo>
                  <a:cubicBezTo>
                    <a:pt x="88" y="22"/>
                    <a:pt x="90" y="19"/>
                    <a:pt x="94" y="19"/>
                  </a:cubicBezTo>
                  <a:cubicBezTo>
                    <a:pt x="97" y="19"/>
                    <a:pt x="99" y="22"/>
                    <a:pt x="99" y="30"/>
                  </a:cubicBezTo>
                  <a:cubicBezTo>
                    <a:pt x="87" y="30"/>
                    <a:pt x="87" y="30"/>
                    <a:pt x="87" y="30"/>
                  </a:cubicBezTo>
                  <a:close/>
                  <a:moveTo>
                    <a:pt x="17" y="13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17" y="132"/>
                    <a:pt x="17" y="132"/>
                    <a:pt x="17" y="132"/>
                  </a:cubicBezTo>
                  <a:close/>
                  <a:moveTo>
                    <a:pt x="57" y="132"/>
                  </a:moveTo>
                  <a:cubicBezTo>
                    <a:pt x="57" y="129"/>
                    <a:pt x="57" y="129"/>
                    <a:pt x="57" y="129"/>
                  </a:cubicBezTo>
                  <a:cubicBezTo>
                    <a:pt x="53" y="128"/>
                    <a:pt x="53" y="128"/>
                    <a:pt x="53" y="128"/>
                  </a:cubicBezTo>
                  <a:cubicBezTo>
                    <a:pt x="53" y="104"/>
                    <a:pt x="53" y="104"/>
                    <a:pt x="53" y="104"/>
                  </a:cubicBezTo>
                  <a:cubicBezTo>
                    <a:pt x="53" y="98"/>
                    <a:pt x="50" y="94"/>
                    <a:pt x="44" y="94"/>
                  </a:cubicBezTo>
                  <a:cubicBezTo>
                    <a:pt x="41" y="94"/>
                    <a:pt x="39" y="95"/>
                    <a:pt x="34" y="98"/>
                  </a:cubicBezTo>
                  <a:cubicBezTo>
                    <a:pt x="34" y="94"/>
                    <a:pt x="34" y="94"/>
                    <a:pt x="34" y="94"/>
                  </a:cubicBezTo>
                  <a:cubicBezTo>
                    <a:pt x="32" y="94"/>
                    <a:pt x="32" y="94"/>
                    <a:pt x="32" y="94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7" y="100"/>
                    <a:pt x="27" y="100"/>
                    <a:pt x="27" y="100"/>
                  </a:cubicBezTo>
                  <a:cubicBezTo>
                    <a:pt x="27" y="128"/>
                    <a:pt x="27" y="128"/>
                    <a:pt x="27" y="128"/>
                  </a:cubicBezTo>
                  <a:cubicBezTo>
                    <a:pt x="23" y="129"/>
                    <a:pt x="23" y="129"/>
                    <a:pt x="23" y="129"/>
                  </a:cubicBezTo>
                  <a:cubicBezTo>
                    <a:pt x="23" y="132"/>
                    <a:pt x="23" y="132"/>
                    <a:pt x="23" y="132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29"/>
                    <a:pt x="38" y="129"/>
                    <a:pt x="38" y="129"/>
                  </a:cubicBezTo>
                  <a:cubicBezTo>
                    <a:pt x="34" y="128"/>
                    <a:pt x="34" y="128"/>
                    <a:pt x="34" y="128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37" y="100"/>
                    <a:pt x="39" y="99"/>
                    <a:pt x="42" y="99"/>
                  </a:cubicBezTo>
                  <a:cubicBezTo>
                    <a:pt x="45" y="99"/>
                    <a:pt x="46" y="101"/>
                    <a:pt x="46" y="106"/>
                  </a:cubicBezTo>
                  <a:cubicBezTo>
                    <a:pt x="46" y="128"/>
                    <a:pt x="46" y="128"/>
                    <a:pt x="46" y="128"/>
                  </a:cubicBezTo>
                  <a:cubicBezTo>
                    <a:pt x="42" y="129"/>
                    <a:pt x="42" y="129"/>
                    <a:pt x="42" y="129"/>
                  </a:cubicBezTo>
                  <a:cubicBezTo>
                    <a:pt x="42" y="132"/>
                    <a:pt x="42" y="132"/>
                    <a:pt x="42" y="132"/>
                  </a:cubicBezTo>
                  <a:cubicBezTo>
                    <a:pt x="57" y="132"/>
                    <a:pt x="57" y="132"/>
                    <a:pt x="57" y="132"/>
                  </a:cubicBezTo>
                  <a:close/>
                  <a:moveTo>
                    <a:pt x="93" y="99"/>
                  </a:moveTo>
                  <a:cubicBezTo>
                    <a:pt x="93" y="95"/>
                    <a:pt x="93" y="95"/>
                    <a:pt x="93" y="95"/>
                  </a:cubicBezTo>
                  <a:cubicBezTo>
                    <a:pt x="87" y="95"/>
                    <a:pt x="87" y="95"/>
                    <a:pt x="87" y="95"/>
                  </a:cubicBezTo>
                  <a:cubicBezTo>
                    <a:pt x="86" y="95"/>
                    <a:pt x="86" y="95"/>
                    <a:pt x="86" y="95"/>
                  </a:cubicBezTo>
                  <a:cubicBezTo>
                    <a:pt x="85" y="95"/>
                    <a:pt x="84" y="95"/>
                    <a:pt x="84" y="95"/>
                  </a:cubicBezTo>
                  <a:cubicBezTo>
                    <a:pt x="84" y="95"/>
                    <a:pt x="82" y="95"/>
                    <a:pt x="81" y="94"/>
                  </a:cubicBezTo>
                  <a:cubicBezTo>
                    <a:pt x="78" y="94"/>
                    <a:pt x="78" y="93"/>
                    <a:pt x="76" y="93"/>
                  </a:cubicBezTo>
                  <a:cubicBezTo>
                    <a:pt x="69" y="93"/>
                    <a:pt x="63" y="99"/>
                    <a:pt x="63" y="106"/>
                  </a:cubicBezTo>
                  <a:cubicBezTo>
                    <a:pt x="63" y="111"/>
                    <a:pt x="65" y="114"/>
                    <a:pt x="70" y="117"/>
                  </a:cubicBezTo>
                  <a:cubicBezTo>
                    <a:pt x="65" y="120"/>
                    <a:pt x="63" y="122"/>
                    <a:pt x="63" y="125"/>
                  </a:cubicBezTo>
                  <a:cubicBezTo>
                    <a:pt x="63" y="127"/>
                    <a:pt x="64" y="129"/>
                    <a:pt x="67" y="130"/>
                  </a:cubicBezTo>
                  <a:cubicBezTo>
                    <a:pt x="62" y="133"/>
                    <a:pt x="61" y="135"/>
                    <a:pt x="61" y="138"/>
                  </a:cubicBezTo>
                  <a:cubicBezTo>
                    <a:pt x="61" y="143"/>
                    <a:pt x="66" y="146"/>
                    <a:pt x="75" y="146"/>
                  </a:cubicBezTo>
                  <a:cubicBezTo>
                    <a:pt x="86" y="146"/>
                    <a:pt x="93" y="141"/>
                    <a:pt x="93" y="132"/>
                  </a:cubicBezTo>
                  <a:cubicBezTo>
                    <a:pt x="93" y="127"/>
                    <a:pt x="90" y="124"/>
                    <a:pt x="82" y="124"/>
                  </a:cubicBezTo>
                  <a:cubicBezTo>
                    <a:pt x="73" y="123"/>
                    <a:pt x="73" y="123"/>
                    <a:pt x="73" y="123"/>
                  </a:cubicBezTo>
                  <a:cubicBezTo>
                    <a:pt x="71" y="123"/>
                    <a:pt x="70" y="123"/>
                    <a:pt x="70" y="122"/>
                  </a:cubicBezTo>
                  <a:cubicBezTo>
                    <a:pt x="70" y="121"/>
                    <a:pt x="71" y="119"/>
                    <a:pt x="73" y="118"/>
                  </a:cubicBezTo>
                  <a:cubicBezTo>
                    <a:pt x="74" y="119"/>
                    <a:pt x="75" y="119"/>
                    <a:pt x="77" y="119"/>
                  </a:cubicBezTo>
                  <a:cubicBezTo>
                    <a:pt x="84" y="119"/>
                    <a:pt x="90" y="114"/>
                    <a:pt x="90" y="107"/>
                  </a:cubicBezTo>
                  <a:cubicBezTo>
                    <a:pt x="90" y="104"/>
                    <a:pt x="89" y="102"/>
                    <a:pt x="87" y="99"/>
                  </a:cubicBezTo>
                  <a:cubicBezTo>
                    <a:pt x="93" y="99"/>
                    <a:pt x="93" y="99"/>
                    <a:pt x="93" y="99"/>
                  </a:cubicBezTo>
                  <a:close/>
                  <a:moveTo>
                    <a:pt x="76" y="97"/>
                  </a:moveTo>
                  <a:cubicBezTo>
                    <a:pt x="80" y="97"/>
                    <a:pt x="82" y="100"/>
                    <a:pt x="82" y="107"/>
                  </a:cubicBezTo>
                  <a:cubicBezTo>
                    <a:pt x="82" y="112"/>
                    <a:pt x="80" y="115"/>
                    <a:pt x="77" y="115"/>
                  </a:cubicBezTo>
                  <a:cubicBezTo>
                    <a:pt x="73" y="115"/>
                    <a:pt x="71" y="112"/>
                    <a:pt x="71" y="106"/>
                  </a:cubicBezTo>
                  <a:cubicBezTo>
                    <a:pt x="71" y="100"/>
                    <a:pt x="73" y="97"/>
                    <a:pt x="76" y="97"/>
                  </a:cubicBezTo>
                  <a:close/>
                  <a:moveTo>
                    <a:pt x="74" y="131"/>
                  </a:moveTo>
                  <a:cubicBezTo>
                    <a:pt x="86" y="131"/>
                    <a:pt x="88" y="132"/>
                    <a:pt x="88" y="135"/>
                  </a:cubicBezTo>
                  <a:cubicBezTo>
                    <a:pt x="88" y="139"/>
                    <a:pt x="83" y="142"/>
                    <a:pt x="76" y="142"/>
                  </a:cubicBezTo>
                  <a:cubicBezTo>
                    <a:pt x="71" y="142"/>
                    <a:pt x="68" y="140"/>
                    <a:pt x="68" y="136"/>
                  </a:cubicBezTo>
                  <a:cubicBezTo>
                    <a:pt x="68" y="134"/>
                    <a:pt x="69" y="132"/>
                    <a:pt x="71" y="131"/>
                  </a:cubicBezTo>
                  <a:cubicBezTo>
                    <a:pt x="74" y="131"/>
                    <a:pt x="74" y="131"/>
                    <a:pt x="74" y="1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6" name="Freeform 6"/>
            <p:cNvSpPr>
              <a:spLocks noEditPoints="1"/>
            </p:cNvSpPr>
            <p:nvPr/>
          </p:nvSpPr>
          <p:spPr bwMode="auto">
            <a:xfrm>
              <a:off x="2103438" y="-793750"/>
              <a:ext cx="547687" cy="547687"/>
            </a:xfrm>
            <a:custGeom>
              <a:avLst/>
              <a:gdLst>
                <a:gd name="T0" fmla="*/ 33 w 146"/>
                <a:gd name="T1" fmla="*/ 134 h 146"/>
                <a:gd name="T2" fmla="*/ 12 w 146"/>
                <a:gd name="T3" fmla="*/ 113 h 146"/>
                <a:gd name="T4" fmla="*/ 0 w 146"/>
                <a:gd name="T5" fmla="*/ 73 h 146"/>
                <a:gd name="T6" fmla="*/ 73 w 146"/>
                <a:gd name="T7" fmla="*/ 0 h 146"/>
                <a:gd name="T8" fmla="*/ 146 w 146"/>
                <a:gd name="T9" fmla="*/ 73 h 146"/>
                <a:gd name="T10" fmla="*/ 130 w 146"/>
                <a:gd name="T11" fmla="*/ 119 h 146"/>
                <a:gd name="T12" fmla="*/ 113 w 146"/>
                <a:gd name="T13" fmla="*/ 134 h 146"/>
                <a:gd name="T14" fmla="*/ 113 w 146"/>
                <a:gd name="T15" fmla="*/ 91 h 146"/>
                <a:gd name="T16" fmla="*/ 121 w 146"/>
                <a:gd name="T17" fmla="*/ 91 h 146"/>
                <a:gd name="T18" fmla="*/ 121 w 146"/>
                <a:gd name="T19" fmla="*/ 121 h 146"/>
                <a:gd name="T20" fmla="*/ 131 w 146"/>
                <a:gd name="T21" fmla="*/ 106 h 146"/>
                <a:gd name="T22" fmla="*/ 139 w 146"/>
                <a:gd name="T23" fmla="*/ 73 h 146"/>
                <a:gd name="T24" fmla="*/ 73 w 146"/>
                <a:gd name="T25" fmla="*/ 6 h 146"/>
                <a:gd name="T26" fmla="*/ 7 w 146"/>
                <a:gd name="T27" fmla="*/ 74 h 146"/>
                <a:gd name="T28" fmla="*/ 26 w 146"/>
                <a:gd name="T29" fmla="*/ 121 h 146"/>
                <a:gd name="T30" fmla="*/ 26 w 146"/>
                <a:gd name="T31" fmla="*/ 91 h 146"/>
                <a:gd name="T32" fmla="*/ 33 w 146"/>
                <a:gd name="T33" fmla="*/ 91 h 146"/>
                <a:gd name="T34" fmla="*/ 33 w 146"/>
                <a:gd name="T35" fmla="*/ 134 h 146"/>
                <a:gd name="T36" fmla="*/ 48 w 146"/>
                <a:gd name="T37" fmla="*/ 142 h 146"/>
                <a:gd name="T38" fmla="*/ 40 w 146"/>
                <a:gd name="T39" fmla="*/ 138 h 146"/>
                <a:gd name="T40" fmla="*/ 40 w 146"/>
                <a:gd name="T41" fmla="*/ 91 h 146"/>
                <a:gd name="T42" fmla="*/ 48 w 146"/>
                <a:gd name="T43" fmla="*/ 91 h 146"/>
                <a:gd name="T44" fmla="*/ 48 w 146"/>
                <a:gd name="T45" fmla="*/ 142 h 146"/>
                <a:gd name="T46" fmla="*/ 62 w 146"/>
                <a:gd name="T47" fmla="*/ 145 h 146"/>
                <a:gd name="T48" fmla="*/ 58 w 146"/>
                <a:gd name="T49" fmla="*/ 145 h 146"/>
                <a:gd name="T50" fmla="*/ 55 w 146"/>
                <a:gd name="T51" fmla="*/ 144 h 146"/>
                <a:gd name="T52" fmla="*/ 55 w 146"/>
                <a:gd name="T53" fmla="*/ 44 h 146"/>
                <a:gd name="T54" fmla="*/ 62 w 146"/>
                <a:gd name="T55" fmla="*/ 44 h 146"/>
                <a:gd name="T56" fmla="*/ 62 w 146"/>
                <a:gd name="T57" fmla="*/ 145 h 146"/>
                <a:gd name="T58" fmla="*/ 77 w 146"/>
                <a:gd name="T59" fmla="*/ 146 h 146"/>
                <a:gd name="T60" fmla="*/ 74 w 146"/>
                <a:gd name="T61" fmla="*/ 146 h 146"/>
                <a:gd name="T62" fmla="*/ 70 w 146"/>
                <a:gd name="T63" fmla="*/ 146 h 146"/>
                <a:gd name="T64" fmla="*/ 70 w 146"/>
                <a:gd name="T65" fmla="*/ 44 h 146"/>
                <a:gd name="T66" fmla="*/ 77 w 146"/>
                <a:gd name="T67" fmla="*/ 44 h 146"/>
                <a:gd name="T68" fmla="*/ 77 w 146"/>
                <a:gd name="T69" fmla="*/ 146 h 146"/>
                <a:gd name="T70" fmla="*/ 91 w 146"/>
                <a:gd name="T71" fmla="*/ 144 h 146"/>
                <a:gd name="T72" fmla="*/ 84 w 146"/>
                <a:gd name="T73" fmla="*/ 146 h 146"/>
                <a:gd name="T74" fmla="*/ 84 w 146"/>
                <a:gd name="T75" fmla="*/ 44 h 146"/>
                <a:gd name="T76" fmla="*/ 91 w 146"/>
                <a:gd name="T77" fmla="*/ 44 h 146"/>
                <a:gd name="T78" fmla="*/ 91 w 146"/>
                <a:gd name="T79" fmla="*/ 144 h 146"/>
                <a:gd name="T80" fmla="*/ 91 w 146"/>
                <a:gd name="T81" fmla="*/ 39 h 146"/>
                <a:gd name="T82" fmla="*/ 73 w 146"/>
                <a:gd name="T83" fmla="*/ 24 h 146"/>
                <a:gd name="T84" fmla="*/ 55 w 146"/>
                <a:gd name="T85" fmla="*/ 39 h 146"/>
                <a:gd name="T86" fmla="*/ 51 w 146"/>
                <a:gd name="T87" fmla="*/ 33 h 146"/>
                <a:gd name="T88" fmla="*/ 73 w 146"/>
                <a:gd name="T89" fmla="*/ 16 h 146"/>
                <a:gd name="T90" fmla="*/ 95 w 146"/>
                <a:gd name="T91" fmla="*/ 33 h 146"/>
                <a:gd name="T92" fmla="*/ 91 w 146"/>
                <a:gd name="T93" fmla="*/ 39 h 146"/>
                <a:gd name="T94" fmla="*/ 106 w 146"/>
                <a:gd name="T95" fmla="*/ 138 h 146"/>
                <a:gd name="T96" fmla="*/ 99 w 146"/>
                <a:gd name="T97" fmla="*/ 142 h 146"/>
                <a:gd name="T98" fmla="*/ 99 w 146"/>
                <a:gd name="T99" fmla="*/ 91 h 146"/>
                <a:gd name="T100" fmla="*/ 106 w 146"/>
                <a:gd name="T101" fmla="*/ 91 h 146"/>
                <a:gd name="T102" fmla="*/ 106 w 146"/>
                <a:gd name="T103" fmla="*/ 13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6" h="146">
                  <a:moveTo>
                    <a:pt x="33" y="134"/>
                  </a:moveTo>
                  <a:cubicBezTo>
                    <a:pt x="23" y="127"/>
                    <a:pt x="17" y="121"/>
                    <a:pt x="12" y="113"/>
                  </a:cubicBezTo>
                  <a:cubicBezTo>
                    <a:pt x="4" y="101"/>
                    <a:pt x="0" y="87"/>
                    <a:pt x="0" y="73"/>
                  </a:cubicBez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6" y="33"/>
                    <a:pt x="146" y="73"/>
                  </a:cubicBezTo>
                  <a:cubicBezTo>
                    <a:pt x="146" y="90"/>
                    <a:pt x="140" y="106"/>
                    <a:pt x="130" y="119"/>
                  </a:cubicBezTo>
                  <a:cubicBezTo>
                    <a:pt x="126" y="124"/>
                    <a:pt x="123" y="127"/>
                    <a:pt x="113" y="134"/>
                  </a:cubicBezTo>
                  <a:cubicBezTo>
                    <a:pt x="113" y="91"/>
                    <a:pt x="113" y="91"/>
                    <a:pt x="113" y="91"/>
                  </a:cubicBezTo>
                  <a:cubicBezTo>
                    <a:pt x="121" y="91"/>
                    <a:pt x="121" y="91"/>
                    <a:pt x="121" y="9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6" y="114"/>
                    <a:pt x="128" y="110"/>
                    <a:pt x="131" y="106"/>
                  </a:cubicBezTo>
                  <a:cubicBezTo>
                    <a:pt x="136" y="96"/>
                    <a:pt x="139" y="85"/>
                    <a:pt x="139" y="73"/>
                  </a:cubicBezTo>
                  <a:cubicBezTo>
                    <a:pt x="139" y="36"/>
                    <a:pt x="110" y="6"/>
                    <a:pt x="73" y="6"/>
                  </a:cubicBezTo>
                  <a:cubicBezTo>
                    <a:pt x="36" y="6"/>
                    <a:pt x="7" y="36"/>
                    <a:pt x="7" y="74"/>
                  </a:cubicBezTo>
                  <a:cubicBezTo>
                    <a:pt x="7" y="91"/>
                    <a:pt x="13" y="106"/>
                    <a:pt x="26" y="121"/>
                  </a:cubicBezTo>
                  <a:cubicBezTo>
                    <a:pt x="26" y="91"/>
                    <a:pt x="26" y="91"/>
                    <a:pt x="26" y="91"/>
                  </a:cubicBezTo>
                  <a:cubicBezTo>
                    <a:pt x="33" y="91"/>
                    <a:pt x="33" y="91"/>
                    <a:pt x="33" y="91"/>
                  </a:cubicBezTo>
                  <a:cubicBezTo>
                    <a:pt x="33" y="134"/>
                    <a:pt x="33" y="134"/>
                    <a:pt x="33" y="134"/>
                  </a:cubicBezTo>
                  <a:close/>
                  <a:moveTo>
                    <a:pt x="48" y="142"/>
                  </a:moveTo>
                  <a:cubicBezTo>
                    <a:pt x="46" y="141"/>
                    <a:pt x="43" y="140"/>
                    <a:pt x="40" y="138"/>
                  </a:cubicBezTo>
                  <a:cubicBezTo>
                    <a:pt x="40" y="91"/>
                    <a:pt x="40" y="91"/>
                    <a:pt x="40" y="91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48" y="142"/>
                    <a:pt x="48" y="142"/>
                    <a:pt x="48" y="142"/>
                  </a:cubicBezTo>
                  <a:close/>
                  <a:moveTo>
                    <a:pt x="62" y="145"/>
                  </a:moveTo>
                  <a:cubicBezTo>
                    <a:pt x="60" y="145"/>
                    <a:pt x="59" y="145"/>
                    <a:pt x="58" y="145"/>
                  </a:cubicBezTo>
                  <a:cubicBezTo>
                    <a:pt x="58" y="144"/>
                    <a:pt x="57" y="144"/>
                    <a:pt x="55" y="1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145"/>
                    <a:pt x="62" y="145"/>
                    <a:pt x="62" y="145"/>
                  </a:cubicBezTo>
                  <a:close/>
                  <a:moveTo>
                    <a:pt x="77" y="146"/>
                  </a:moveTo>
                  <a:cubicBezTo>
                    <a:pt x="76" y="146"/>
                    <a:pt x="75" y="146"/>
                    <a:pt x="74" y="146"/>
                  </a:cubicBezTo>
                  <a:cubicBezTo>
                    <a:pt x="72" y="146"/>
                    <a:pt x="71" y="146"/>
                    <a:pt x="70" y="146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146"/>
                    <a:pt x="77" y="146"/>
                    <a:pt x="77" y="146"/>
                  </a:cubicBezTo>
                  <a:close/>
                  <a:moveTo>
                    <a:pt x="91" y="144"/>
                  </a:moveTo>
                  <a:cubicBezTo>
                    <a:pt x="89" y="144"/>
                    <a:pt x="87" y="145"/>
                    <a:pt x="84" y="146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91" y="144"/>
                    <a:pt x="91" y="144"/>
                    <a:pt x="91" y="144"/>
                  </a:cubicBezTo>
                  <a:close/>
                  <a:moveTo>
                    <a:pt x="91" y="39"/>
                  </a:moveTo>
                  <a:cubicBezTo>
                    <a:pt x="73" y="24"/>
                    <a:pt x="73" y="24"/>
                    <a:pt x="73" y="24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1" y="39"/>
                    <a:pt x="91" y="39"/>
                    <a:pt x="91" y="39"/>
                  </a:cubicBezTo>
                  <a:close/>
                  <a:moveTo>
                    <a:pt x="106" y="138"/>
                  </a:moveTo>
                  <a:cubicBezTo>
                    <a:pt x="104" y="139"/>
                    <a:pt x="102" y="140"/>
                    <a:pt x="99" y="142"/>
                  </a:cubicBezTo>
                  <a:cubicBezTo>
                    <a:pt x="99" y="91"/>
                    <a:pt x="99" y="91"/>
                    <a:pt x="99" y="91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6" y="138"/>
                    <a:pt x="106" y="138"/>
                    <a:pt x="106" y="1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3124200" y="-779463"/>
              <a:ext cx="449262" cy="509587"/>
            </a:xfrm>
            <a:custGeom>
              <a:avLst/>
              <a:gdLst>
                <a:gd name="T0" fmla="*/ 14 w 120"/>
                <a:gd name="T1" fmla="*/ 100 h 136"/>
                <a:gd name="T2" fmla="*/ 7 w 120"/>
                <a:gd name="T3" fmla="*/ 112 h 136"/>
                <a:gd name="T4" fmla="*/ 48 w 120"/>
                <a:gd name="T5" fmla="*/ 53 h 136"/>
                <a:gd name="T6" fmla="*/ 44 w 120"/>
                <a:gd name="T7" fmla="*/ 29 h 136"/>
                <a:gd name="T8" fmla="*/ 25 w 120"/>
                <a:gd name="T9" fmla="*/ 23 h 136"/>
                <a:gd name="T10" fmla="*/ 23 w 120"/>
                <a:gd name="T11" fmla="*/ 0 h 136"/>
                <a:gd name="T12" fmla="*/ 13 w 120"/>
                <a:gd name="T13" fmla="*/ 5 h 136"/>
                <a:gd name="T14" fmla="*/ 18 w 120"/>
                <a:gd name="T15" fmla="*/ 52 h 136"/>
                <a:gd name="T16" fmla="*/ 13 w 120"/>
                <a:gd name="T17" fmla="*/ 56 h 136"/>
                <a:gd name="T18" fmla="*/ 29 w 120"/>
                <a:gd name="T19" fmla="*/ 53 h 136"/>
                <a:gd name="T20" fmla="*/ 25 w 120"/>
                <a:gd name="T21" fmla="*/ 28 h 136"/>
                <a:gd name="T22" fmla="*/ 36 w 120"/>
                <a:gd name="T23" fmla="*/ 32 h 136"/>
                <a:gd name="T24" fmla="*/ 33 w 120"/>
                <a:gd name="T25" fmla="*/ 53 h 136"/>
                <a:gd name="T26" fmla="*/ 48 w 120"/>
                <a:gd name="T27" fmla="*/ 56 h 136"/>
                <a:gd name="T28" fmla="*/ 62 w 120"/>
                <a:gd name="T29" fmla="*/ 18 h 136"/>
                <a:gd name="T30" fmla="*/ 53 w 120"/>
                <a:gd name="T31" fmla="*/ 23 h 136"/>
                <a:gd name="T32" fmla="*/ 58 w 120"/>
                <a:gd name="T33" fmla="*/ 52 h 136"/>
                <a:gd name="T34" fmla="*/ 53 w 120"/>
                <a:gd name="T35" fmla="*/ 56 h 136"/>
                <a:gd name="T36" fmla="*/ 70 w 120"/>
                <a:gd name="T37" fmla="*/ 53 h 136"/>
                <a:gd name="T38" fmla="*/ 65 w 120"/>
                <a:gd name="T39" fmla="*/ 32 h 136"/>
                <a:gd name="T40" fmla="*/ 74 w 120"/>
                <a:gd name="T41" fmla="*/ 28 h 136"/>
                <a:gd name="T42" fmla="*/ 72 w 120"/>
                <a:gd name="T43" fmla="*/ 19 h 136"/>
                <a:gd name="T44" fmla="*/ 65 w 120"/>
                <a:gd name="T45" fmla="*/ 18 h 136"/>
                <a:gd name="T46" fmla="*/ 83 w 120"/>
                <a:gd name="T47" fmla="*/ 5 h 136"/>
                <a:gd name="T48" fmla="*/ 92 w 120"/>
                <a:gd name="T49" fmla="*/ 5 h 136"/>
                <a:gd name="T50" fmla="*/ 96 w 120"/>
                <a:gd name="T51" fmla="*/ 56 h 136"/>
                <a:gd name="T52" fmla="*/ 92 w 120"/>
                <a:gd name="T53" fmla="*/ 52 h 136"/>
                <a:gd name="T54" fmla="*/ 90 w 120"/>
                <a:gd name="T55" fmla="*/ 19 h 136"/>
                <a:gd name="T56" fmla="*/ 80 w 120"/>
                <a:gd name="T57" fmla="*/ 24 h 136"/>
                <a:gd name="T58" fmla="*/ 84 w 120"/>
                <a:gd name="T59" fmla="*/ 52 h 136"/>
                <a:gd name="T60" fmla="*/ 80 w 120"/>
                <a:gd name="T61" fmla="*/ 56 h 136"/>
                <a:gd name="T62" fmla="*/ 27 w 120"/>
                <a:gd name="T63" fmla="*/ 115 h 136"/>
                <a:gd name="T64" fmla="*/ 14 w 120"/>
                <a:gd name="T65" fmla="*/ 97 h 136"/>
                <a:gd name="T66" fmla="*/ 14 w 120"/>
                <a:gd name="T67" fmla="*/ 136 h 136"/>
                <a:gd name="T68" fmla="*/ 23 w 120"/>
                <a:gd name="T69" fmla="*/ 125 h 136"/>
                <a:gd name="T70" fmla="*/ 7 w 120"/>
                <a:gd name="T71" fmla="*/ 115 h 136"/>
                <a:gd name="T72" fmla="*/ 47 w 120"/>
                <a:gd name="T73" fmla="*/ 135 h 136"/>
                <a:gd name="T74" fmla="*/ 43 w 120"/>
                <a:gd name="T75" fmla="*/ 131 h 136"/>
                <a:gd name="T76" fmla="*/ 41 w 120"/>
                <a:gd name="T77" fmla="*/ 78 h 136"/>
                <a:gd name="T78" fmla="*/ 31 w 120"/>
                <a:gd name="T79" fmla="*/ 83 h 136"/>
                <a:gd name="T80" fmla="*/ 36 w 120"/>
                <a:gd name="T81" fmla="*/ 131 h 136"/>
                <a:gd name="T82" fmla="*/ 31 w 120"/>
                <a:gd name="T83" fmla="*/ 135 h 136"/>
                <a:gd name="T84" fmla="*/ 87 w 120"/>
                <a:gd name="T85" fmla="*/ 135 h 136"/>
                <a:gd name="T86" fmla="*/ 83 w 120"/>
                <a:gd name="T87" fmla="*/ 131 h 136"/>
                <a:gd name="T88" fmla="*/ 74 w 120"/>
                <a:gd name="T89" fmla="*/ 97 h 136"/>
                <a:gd name="T90" fmla="*/ 64 w 120"/>
                <a:gd name="T91" fmla="*/ 78 h 136"/>
                <a:gd name="T92" fmla="*/ 53 w 120"/>
                <a:gd name="T93" fmla="*/ 81 h 136"/>
                <a:gd name="T94" fmla="*/ 57 w 120"/>
                <a:gd name="T95" fmla="*/ 84 h 136"/>
                <a:gd name="T96" fmla="*/ 52 w 120"/>
                <a:gd name="T97" fmla="*/ 132 h 136"/>
                <a:gd name="T98" fmla="*/ 68 w 120"/>
                <a:gd name="T99" fmla="*/ 135 h 136"/>
                <a:gd name="T100" fmla="*/ 64 w 120"/>
                <a:gd name="T101" fmla="*/ 131 h 136"/>
                <a:gd name="T102" fmla="*/ 71 w 120"/>
                <a:gd name="T103" fmla="*/ 103 h 136"/>
                <a:gd name="T104" fmla="*/ 76 w 120"/>
                <a:gd name="T105" fmla="*/ 131 h 136"/>
                <a:gd name="T106" fmla="*/ 72 w 120"/>
                <a:gd name="T107" fmla="*/ 135 h 136"/>
                <a:gd name="T108" fmla="*/ 120 w 120"/>
                <a:gd name="T109" fmla="*/ 115 h 136"/>
                <a:gd name="T110" fmla="*/ 107 w 120"/>
                <a:gd name="T111" fmla="*/ 97 h 136"/>
                <a:gd name="T112" fmla="*/ 107 w 120"/>
                <a:gd name="T113" fmla="*/ 136 h 136"/>
                <a:gd name="T114" fmla="*/ 116 w 120"/>
                <a:gd name="T115" fmla="*/ 125 h 136"/>
                <a:gd name="T116" fmla="*/ 100 w 120"/>
                <a:gd name="T117" fmla="*/ 115 h 136"/>
                <a:gd name="T118" fmla="*/ 100 w 120"/>
                <a:gd name="T119" fmla="*/ 112 h 136"/>
                <a:gd name="T120" fmla="*/ 112 w 120"/>
                <a:gd name="T121" fmla="*/ 11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" h="136">
                  <a:moveTo>
                    <a:pt x="7" y="112"/>
                  </a:moveTo>
                  <a:cubicBezTo>
                    <a:pt x="8" y="104"/>
                    <a:pt x="10" y="100"/>
                    <a:pt x="14" y="100"/>
                  </a:cubicBezTo>
                  <a:cubicBezTo>
                    <a:pt x="17" y="100"/>
                    <a:pt x="19" y="104"/>
                    <a:pt x="19" y="112"/>
                  </a:cubicBezTo>
                  <a:cubicBezTo>
                    <a:pt x="7" y="112"/>
                    <a:pt x="7" y="112"/>
                    <a:pt x="7" y="112"/>
                  </a:cubicBezTo>
                  <a:close/>
                  <a:moveTo>
                    <a:pt x="48" y="56"/>
                  </a:moveTo>
                  <a:cubicBezTo>
                    <a:pt x="48" y="53"/>
                    <a:pt x="48" y="53"/>
                    <a:pt x="48" y="53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2"/>
                    <a:pt x="41" y="19"/>
                    <a:pt x="35" y="19"/>
                  </a:cubicBezTo>
                  <a:cubicBezTo>
                    <a:pt x="32" y="19"/>
                    <a:pt x="29" y="20"/>
                    <a:pt x="25" y="2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8" y="25"/>
                    <a:pt x="30" y="24"/>
                    <a:pt x="32" y="24"/>
                  </a:cubicBezTo>
                  <a:cubicBezTo>
                    <a:pt x="35" y="24"/>
                    <a:pt x="36" y="26"/>
                    <a:pt x="36" y="32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48" y="56"/>
                    <a:pt x="48" y="56"/>
                    <a:pt x="48" y="56"/>
                  </a:cubicBezTo>
                  <a:close/>
                  <a:moveTo>
                    <a:pt x="65" y="18"/>
                  </a:moveTo>
                  <a:cubicBezTo>
                    <a:pt x="62" y="18"/>
                    <a:pt x="62" y="18"/>
                    <a:pt x="62" y="18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5" y="30"/>
                    <a:pt x="67" y="27"/>
                    <a:pt x="70" y="26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6" y="26"/>
                    <a:pt x="76" y="25"/>
                    <a:pt x="76" y="23"/>
                  </a:cubicBezTo>
                  <a:cubicBezTo>
                    <a:pt x="76" y="21"/>
                    <a:pt x="75" y="19"/>
                    <a:pt x="72" y="19"/>
                  </a:cubicBezTo>
                  <a:cubicBezTo>
                    <a:pt x="69" y="19"/>
                    <a:pt x="68" y="20"/>
                    <a:pt x="65" y="26"/>
                  </a:cubicBezTo>
                  <a:cubicBezTo>
                    <a:pt x="65" y="18"/>
                    <a:pt x="65" y="18"/>
                    <a:pt x="65" y="18"/>
                  </a:cubicBezTo>
                  <a:close/>
                  <a:moveTo>
                    <a:pt x="88" y="0"/>
                  </a:moveTo>
                  <a:cubicBezTo>
                    <a:pt x="85" y="0"/>
                    <a:pt x="83" y="2"/>
                    <a:pt x="83" y="5"/>
                  </a:cubicBezTo>
                  <a:cubicBezTo>
                    <a:pt x="83" y="8"/>
                    <a:pt x="85" y="10"/>
                    <a:pt x="88" y="10"/>
                  </a:cubicBezTo>
                  <a:cubicBezTo>
                    <a:pt x="90" y="10"/>
                    <a:pt x="92" y="8"/>
                    <a:pt x="92" y="5"/>
                  </a:cubicBezTo>
                  <a:cubicBezTo>
                    <a:pt x="92" y="2"/>
                    <a:pt x="90" y="0"/>
                    <a:pt x="88" y="0"/>
                  </a:cubicBezTo>
                  <a:close/>
                  <a:moveTo>
                    <a:pt x="96" y="56"/>
                  </a:moveTo>
                  <a:cubicBezTo>
                    <a:pt x="96" y="53"/>
                    <a:pt x="96" y="53"/>
                    <a:pt x="96" y="53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19"/>
                    <a:pt x="92" y="19"/>
                    <a:pt x="92" y="19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80" y="21"/>
                    <a:pt x="80" y="21"/>
                    <a:pt x="80" y="21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0" y="53"/>
                    <a:pt x="80" y="53"/>
                    <a:pt x="80" y="53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96" y="56"/>
                    <a:pt x="96" y="56"/>
                    <a:pt x="96" y="56"/>
                  </a:cubicBezTo>
                  <a:close/>
                  <a:moveTo>
                    <a:pt x="27" y="115"/>
                  </a:moveTo>
                  <a:cubicBezTo>
                    <a:pt x="27" y="110"/>
                    <a:pt x="26" y="108"/>
                    <a:pt x="26" y="106"/>
                  </a:cubicBezTo>
                  <a:cubicBezTo>
                    <a:pt x="24" y="100"/>
                    <a:pt x="20" y="97"/>
                    <a:pt x="14" y="97"/>
                  </a:cubicBezTo>
                  <a:cubicBezTo>
                    <a:pt x="5" y="97"/>
                    <a:pt x="0" y="104"/>
                    <a:pt x="0" y="117"/>
                  </a:cubicBezTo>
                  <a:cubicBezTo>
                    <a:pt x="0" y="129"/>
                    <a:pt x="5" y="136"/>
                    <a:pt x="14" y="136"/>
                  </a:cubicBezTo>
                  <a:cubicBezTo>
                    <a:pt x="20" y="136"/>
                    <a:pt x="23" y="133"/>
                    <a:pt x="27" y="127"/>
                  </a:cubicBezTo>
                  <a:cubicBezTo>
                    <a:pt x="23" y="125"/>
                    <a:pt x="23" y="125"/>
                    <a:pt x="23" y="125"/>
                  </a:cubicBezTo>
                  <a:cubicBezTo>
                    <a:pt x="21" y="129"/>
                    <a:pt x="19" y="130"/>
                    <a:pt x="16" y="130"/>
                  </a:cubicBezTo>
                  <a:cubicBezTo>
                    <a:pt x="11" y="130"/>
                    <a:pt x="8" y="126"/>
                    <a:pt x="7" y="115"/>
                  </a:cubicBezTo>
                  <a:cubicBezTo>
                    <a:pt x="27" y="115"/>
                    <a:pt x="27" y="115"/>
                    <a:pt x="27" y="115"/>
                  </a:cubicBezTo>
                  <a:close/>
                  <a:moveTo>
                    <a:pt x="47" y="135"/>
                  </a:moveTo>
                  <a:cubicBezTo>
                    <a:pt x="47" y="132"/>
                    <a:pt x="47" y="132"/>
                    <a:pt x="47" y="132"/>
                  </a:cubicBezTo>
                  <a:cubicBezTo>
                    <a:pt x="43" y="131"/>
                    <a:pt x="43" y="131"/>
                    <a:pt x="43" y="131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6" y="131"/>
                    <a:pt x="36" y="131"/>
                    <a:pt x="36" y="131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31" y="135"/>
                    <a:pt x="31" y="135"/>
                    <a:pt x="31" y="135"/>
                  </a:cubicBezTo>
                  <a:cubicBezTo>
                    <a:pt x="47" y="135"/>
                    <a:pt x="47" y="135"/>
                    <a:pt x="47" y="135"/>
                  </a:cubicBezTo>
                  <a:close/>
                  <a:moveTo>
                    <a:pt x="87" y="135"/>
                  </a:moveTo>
                  <a:cubicBezTo>
                    <a:pt x="87" y="132"/>
                    <a:pt x="87" y="132"/>
                    <a:pt x="87" y="132"/>
                  </a:cubicBezTo>
                  <a:cubicBezTo>
                    <a:pt x="83" y="131"/>
                    <a:pt x="83" y="131"/>
                    <a:pt x="83" y="131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83" y="101"/>
                    <a:pt x="80" y="97"/>
                    <a:pt x="74" y="97"/>
                  </a:cubicBezTo>
                  <a:cubicBezTo>
                    <a:pt x="71" y="97"/>
                    <a:pt x="68" y="98"/>
                    <a:pt x="64" y="102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131"/>
                    <a:pt x="57" y="131"/>
                    <a:pt x="57" y="131"/>
                  </a:cubicBezTo>
                  <a:cubicBezTo>
                    <a:pt x="52" y="132"/>
                    <a:pt x="52" y="132"/>
                    <a:pt x="52" y="132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8" y="132"/>
                    <a:pt x="68" y="132"/>
                    <a:pt x="68" y="132"/>
                  </a:cubicBezTo>
                  <a:cubicBezTo>
                    <a:pt x="64" y="131"/>
                    <a:pt x="64" y="131"/>
                    <a:pt x="64" y="131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7" y="104"/>
                    <a:pt x="69" y="103"/>
                    <a:pt x="71" y="103"/>
                  </a:cubicBezTo>
                  <a:cubicBezTo>
                    <a:pt x="74" y="103"/>
                    <a:pt x="76" y="105"/>
                    <a:pt x="76" y="110"/>
                  </a:cubicBezTo>
                  <a:cubicBezTo>
                    <a:pt x="76" y="131"/>
                    <a:pt x="76" y="131"/>
                    <a:pt x="76" y="131"/>
                  </a:cubicBezTo>
                  <a:cubicBezTo>
                    <a:pt x="72" y="132"/>
                    <a:pt x="72" y="132"/>
                    <a:pt x="72" y="132"/>
                  </a:cubicBezTo>
                  <a:cubicBezTo>
                    <a:pt x="72" y="135"/>
                    <a:pt x="72" y="135"/>
                    <a:pt x="72" y="135"/>
                  </a:cubicBezTo>
                  <a:cubicBezTo>
                    <a:pt x="87" y="135"/>
                    <a:pt x="87" y="135"/>
                    <a:pt x="87" y="135"/>
                  </a:cubicBezTo>
                  <a:close/>
                  <a:moveTo>
                    <a:pt x="120" y="115"/>
                  </a:moveTo>
                  <a:cubicBezTo>
                    <a:pt x="119" y="110"/>
                    <a:pt x="119" y="108"/>
                    <a:pt x="119" y="106"/>
                  </a:cubicBezTo>
                  <a:cubicBezTo>
                    <a:pt x="117" y="100"/>
                    <a:pt x="113" y="97"/>
                    <a:pt x="107" y="97"/>
                  </a:cubicBezTo>
                  <a:cubicBezTo>
                    <a:pt x="98" y="97"/>
                    <a:pt x="92" y="104"/>
                    <a:pt x="92" y="117"/>
                  </a:cubicBezTo>
                  <a:cubicBezTo>
                    <a:pt x="92" y="129"/>
                    <a:pt x="98" y="136"/>
                    <a:pt x="107" y="136"/>
                  </a:cubicBezTo>
                  <a:cubicBezTo>
                    <a:pt x="113" y="136"/>
                    <a:pt x="116" y="133"/>
                    <a:pt x="120" y="127"/>
                  </a:cubicBezTo>
                  <a:cubicBezTo>
                    <a:pt x="116" y="125"/>
                    <a:pt x="116" y="125"/>
                    <a:pt x="116" y="125"/>
                  </a:cubicBezTo>
                  <a:cubicBezTo>
                    <a:pt x="114" y="129"/>
                    <a:pt x="112" y="130"/>
                    <a:pt x="109" y="130"/>
                  </a:cubicBezTo>
                  <a:cubicBezTo>
                    <a:pt x="103" y="130"/>
                    <a:pt x="101" y="126"/>
                    <a:pt x="100" y="115"/>
                  </a:cubicBezTo>
                  <a:cubicBezTo>
                    <a:pt x="120" y="115"/>
                    <a:pt x="120" y="115"/>
                    <a:pt x="120" y="115"/>
                  </a:cubicBezTo>
                  <a:close/>
                  <a:moveTo>
                    <a:pt x="100" y="112"/>
                  </a:moveTo>
                  <a:cubicBezTo>
                    <a:pt x="101" y="104"/>
                    <a:pt x="103" y="100"/>
                    <a:pt x="106" y="100"/>
                  </a:cubicBezTo>
                  <a:cubicBezTo>
                    <a:pt x="110" y="100"/>
                    <a:pt x="112" y="104"/>
                    <a:pt x="112" y="112"/>
                  </a:cubicBezTo>
                  <a:cubicBezTo>
                    <a:pt x="100" y="112"/>
                    <a:pt x="100" y="112"/>
                    <a:pt x="100" y="1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3506788" y="-711200"/>
              <a:ext cx="490537" cy="438150"/>
            </a:xfrm>
            <a:custGeom>
              <a:avLst/>
              <a:gdLst>
                <a:gd name="T0" fmla="*/ 53 w 131"/>
                <a:gd name="T1" fmla="*/ 22 h 117"/>
                <a:gd name="T2" fmla="*/ 34 w 131"/>
                <a:gd name="T3" fmla="*/ 38 h 117"/>
                <a:gd name="T4" fmla="*/ 30 w 131"/>
                <a:gd name="T5" fmla="*/ 10 h 117"/>
                <a:gd name="T6" fmla="*/ 11 w 131"/>
                <a:gd name="T7" fmla="*/ 0 h 117"/>
                <a:gd name="T8" fmla="*/ 0 w 131"/>
                <a:gd name="T9" fmla="*/ 6 h 117"/>
                <a:gd name="T10" fmla="*/ 0 w 131"/>
                <a:gd name="T11" fmla="*/ 35 h 117"/>
                <a:gd name="T12" fmla="*/ 15 w 131"/>
                <a:gd name="T13" fmla="*/ 35 h 117"/>
                <a:gd name="T14" fmla="*/ 19 w 131"/>
                <a:gd name="T15" fmla="*/ 6 h 117"/>
                <a:gd name="T16" fmla="*/ 19 w 131"/>
                <a:gd name="T17" fmla="*/ 35 h 117"/>
                <a:gd name="T18" fmla="*/ 70 w 131"/>
                <a:gd name="T19" fmla="*/ 6 h 117"/>
                <a:gd name="T20" fmla="*/ 63 w 131"/>
                <a:gd name="T21" fmla="*/ 1 h 117"/>
                <a:gd name="T22" fmla="*/ 53 w 131"/>
                <a:gd name="T23" fmla="*/ 0 h 117"/>
                <a:gd name="T24" fmla="*/ 39 w 131"/>
                <a:gd name="T25" fmla="*/ 31 h 117"/>
                <a:gd name="T26" fmla="*/ 51 w 131"/>
                <a:gd name="T27" fmla="*/ 52 h 117"/>
                <a:gd name="T28" fmla="*/ 50 w 131"/>
                <a:gd name="T29" fmla="*/ 30 h 117"/>
                <a:gd name="T30" fmla="*/ 54 w 131"/>
                <a:gd name="T31" fmla="*/ 25 h 117"/>
                <a:gd name="T32" fmla="*/ 70 w 131"/>
                <a:gd name="T33" fmla="*/ 6 h 117"/>
                <a:gd name="T34" fmla="*/ 53 w 131"/>
                <a:gd name="T35" fmla="*/ 48 h 117"/>
                <a:gd name="T36" fmla="*/ 102 w 131"/>
                <a:gd name="T37" fmla="*/ 19 h 117"/>
                <a:gd name="T38" fmla="*/ 89 w 131"/>
                <a:gd name="T39" fmla="*/ 39 h 117"/>
                <a:gd name="T40" fmla="*/ 91 w 131"/>
                <a:gd name="T41" fmla="*/ 34 h 117"/>
                <a:gd name="T42" fmla="*/ 82 w 131"/>
                <a:gd name="T43" fmla="*/ 15 h 117"/>
                <a:gd name="T44" fmla="*/ 82 w 131"/>
                <a:gd name="T45" fmla="*/ 15 h 117"/>
                <a:gd name="T46" fmla="*/ 108 w 131"/>
                <a:gd name="T47" fmla="*/ 3 h 117"/>
                <a:gd name="T48" fmla="*/ 112 w 131"/>
                <a:gd name="T49" fmla="*/ 34 h 117"/>
                <a:gd name="T50" fmla="*/ 125 w 131"/>
                <a:gd name="T51" fmla="*/ 38 h 117"/>
                <a:gd name="T52" fmla="*/ 120 w 131"/>
                <a:gd name="T53" fmla="*/ 14 h 117"/>
                <a:gd name="T54" fmla="*/ 131 w 131"/>
                <a:gd name="T55" fmla="*/ 5 h 117"/>
                <a:gd name="T56" fmla="*/ 120 w 131"/>
                <a:gd name="T57" fmla="*/ 0 h 117"/>
                <a:gd name="T58" fmla="*/ 31 w 131"/>
                <a:gd name="T59" fmla="*/ 70 h 117"/>
                <a:gd name="T60" fmla="*/ 39 w 131"/>
                <a:gd name="T61" fmla="*/ 117 h 117"/>
                <a:gd name="T62" fmla="*/ 35 w 131"/>
                <a:gd name="T63" fmla="*/ 79 h 117"/>
                <a:gd name="T64" fmla="*/ 24 w 131"/>
                <a:gd name="T65" fmla="*/ 84 h 117"/>
                <a:gd name="T66" fmla="*/ 24 w 131"/>
                <a:gd name="T67" fmla="*/ 114 h 117"/>
                <a:gd name="T68" fmla="*/ 100 w 131"/>
                <a:gd name="T69" fmla="*/ 114 h 117"/>
                <a:gd name="T70" fmla="*/ 86 w 131"/>
                <a:gd name="T71" fmla="*/ 79 h 117"/>
                <a:gd name="T72" fmla="*/ 56 w 131"/>
                <a:gd name="T73" fmla="*/ 84 h 117"/>
                <a:gd name="T74" fmla="*/ 45 w 131"/>
                <a:gd name="T75" fmla="*/ 81 h 117"/>
                <a:gd name="T76" fmla="*/ 49 w 131"/>
                <a:gd name="T77" fmla="*/ 113 h 117"/>
                <a:gd name="T78" fmla="*/ 60 w 131"/>
                <a:gd name="T79" fmla="*/ 117 h 117"/>
                <a:gd name="T80" fmla="*/ 57 w 131"/>
                <a:gd name="T81" fmla="*/ 88 h 117"/>
                <a:gd name="T82" fmla="*/ 69 w 131"/>
                <a:gd name="T83" fmla="*/ 113 h 117"/>
                <a:gd name="T84" fmla="*/ 80 w 131"/>
                <a:gd name="T85" fmla="*/ 117 h 117"/>
                <a:gd name="T86" fmla="*/ 76 w 131"/>
                <a:gd name="T87" fmla="*/ 88 h 117"/>
                <a:gd name="T88" fmla="*/ 88 w 131"/>
                <a:gd name="T89" fmla="*/ 113 h 117"/>
                <a:gd name="T90" fmla="*/ 100 w 131"/>
                <a:gd name="T91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1" h="117">
                  <a:moveTo>
                    <a:pt x="53" y="3"/>
                  </a:moveTo>
                  <a:cubicBezTo>
                    <a:pt x="57" y="3"/>
                    <a:pt x="59" y="6"/>
                    <a:pt x="59" y="13"/>
                  </a:cubicBezTo>
                  <a:cubicBezTo>
                    <a:pt x="59" y="19"/>
                    <a:pt x="57" y="22"/>
                    <a:pt x="53" y="22"/>
                  </a:cubicBezTo>
                  <a:cubicBezTo>
                    <a:pt x="50" y="22"/>
                    <a:pt x="48" y="19"/>
                    <a:pt x="48" y="12"/>
                  </a:cubicBezTo>
                  <a:cubicBezTo>
                    <a:pt x="48" y="6"/>
                    <a:pt x="50" y="3"/>
                    <a:pt x="53" y="3"/>
                  </a:cubicBezTo>
                  <a:close/>
                  <a:moveTo>
                    <a:pt x="34" y="38"/>
                  </a:moveTo>
                  <a:cubicBezTo>
                    <a:pt x="34" y="35"/>
                    <a:pt x="34" y="35"/>
                    <a:pt x="34" y="35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4"/>
                    <a:pt x="27" y="0"/>
                    <a:pt x="21" y="0"/>
                  </a:cubicBezTo>
                  <a:cubicBezTo>
                    <a:pt x="18" y="0"/>
                    <a:pt x="16" y="1"/>
                    <a:pt x="11" y="5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4" y="7"/>
                    <a:pt x="16" y="6"/>
                    <a:pt x="19" y="6"/>
                  </a:cubicBezTo>
                  <a:cubicBezTo>
                    <a:pt x="22" y="6"/>
                    <a:pt x="23" y="8"/>
                    <a:pt x="23" y="12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34" y="38"/>
                    <a:pt x="34" y="38"/>
                    <a:pt x="34" y="38"/>
                  </a:cubicBezTo>
                  <a:close/>
                  <a:moveTo>
                    <a:pt x="70" y="6"/>
                  </a:moveTo>
                  <a:cubicBezTo>
                    <a:pt x="70" y="1"/>
                    <a:pt x="70" y="1"/>
                    <a:pt x="70" y="1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2" y="1"/>
                    <a:pt x="61" y="1"/>
                    <a:pt x="61" y="1"/>
                  </a:cubicBezTo>
                  <a:cubicBezTo>
                    <a:pt x="60" y="1"/>
                    <a:pt x="59" y="1"/>
                    <a:pt x="58" y="1"/>
                  </a:cubicBezTo>
                  <a:cubicBezTo>
                    <a:pt x="55" y="0"/>
                    <a:pt x="54" y="0"/>
                    <a:pt x="53" y="0"/>
                  </a:cubicBezTo>
                  <a:cubicBezTo>
                    <a:pt x="46" y="0"/>
                    <a:pt x="40" y="6"/>
                    <a:pt x="40" y="13"/>
                  </a:cubicBezTo>
                  <a:cubicBezTo>
                    <a:pt x="40" y="18"/>
                    <a:pt x="42" y="20"/>
                    <a:pt x="46" y="23"/>
                  </a:cubicBezTo>
                  <a:cubicBezTo>
                    <a:pt x="41" y="26"/>
                    <a:pt x="39" y="29"/>
                    <a:pt x="39" y="31"/>
                  </a:cubicBezTo>
                  <a:cubicBezTo>
                    <a:pt x="39" y="34"/>
                    <a:pt x="41" y="35"/>
                    <a:pt x="44" y="36"/>
                  </a:cubicBezTo>
                  <a:cubicBezTo>
                    <a:pt x="39" y="39"/>
                    <a:pt x="38" y="41"/>
                    <a:pt x="38" y="44"/>
                  </a:cubicBezTo>
                  <a:cubicBezTo>
                    <a:pt x="38" y="49"/>
                    <a:pt x="43" y="52"/>
                    <a:pt x="51" y="52"/>
                  </a:cubicBezTo>
                  <a:cubicBezTo>
                    <a:pt x="63" y="52"/>
                    <a:pt x="70" y="47"/>
                    <a:pt x="70" y="39"/>
                  </a:cubicBezTo>
                  <a:cubicBezTo>
                    <a:pt x="70" y="33"/>
                    <a:pt x="66" y="30"/>
                    <a:pt x="59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48" y="29"/>
                    <a:pt x="47" y="29"/>
                    <a:pt x="47" y="28"/>
                  </a:cubicBezTo>
                  <a:cubicBezTo>
                    <a:pt x="47" y="27"/>
                    <a:pt x="48" y="26"/>
                    <a:pt x="50" y="25"/>
                  </a:cubicBezTo>
                  <a:cubicBezTo>
                    <a:pt x="51" y="25"/>
                    <a:pt x="52" y="25"/>
                    <a:pt x="54" y="25"/>
                  </a:cubicBezTo>
                  <a:cubicBezTo>
                    <a:pt x="61" y="25"/>
                    <a:pt x="67" y="20"/>
                    <a:pt x="67" y="13"/>
                  </a:cubicBezTo>
                  <a:cubicBezTo>
                    <a:pt x="67" y="10"/>
                    <a:pt x="66" y="8"/>
                    <a:pt x="64" y="6"/>
                  </a:cubicBezTo>
                  <a:cubicBezTo>
                    <a:pt x="70" y="6"/>
                    <a:pt x="70" y="6"/>
                    <a:pt x="70" y="6"/>
                  </a:cubicBezTo>
                  <a:close/>
                  <a:moveTo>
                    <a:pt x="48" y="37"/>
                  </a:moveTo>
                  <a:cubicBezTo>
                    <a:pt x="63" y="38"/>
                    <a:pt x="64" y="38"/>
                    <a:pt x="64" y="42"/>
                  </a:cubicBezTo>
                  <a:cubicBezTo>
                    <a:pt x="64" y="45"/>
                    <a:pt x="60" y="48"/>
                    <a:pt x="53" y="48"/>
                  </a:cubicBezTo>
                  <a:cubicBezTo>
                    <a:pt x="48" y="48"/>
                    <a:pt x="45" y="46"/>
                    <a:pt x="45" y="43"/>
                  </a:cubicBezTo>
                  <a:cubicBezTo>
                    <a:pt x="45" y="40"/>
                    <a:pt x="46" y="39"/>
                    <a:pt x="48" y="37"/>
                  </a:cubicBezTo>
                  <a:close/>
                  <a:moveTo>
                    <a:pt x="102" y="19"/>
                  </a:moveTo>
                  <a:cubicBezTo>
                    <a:pt x="102" y="6"/>
                    <a:pt x="97" y="0"/>
                    <a:pt x="89" y="0"/>
                  </a:cubicBezTo>
                  <a:cubicBezTo>
                    <a:pt x="80" y="0"/>
                    <a:pt x="75" y="8"/>
                    <a:pt x="75" y="21"/>
                  </a:cubicBezTo>
                  <a:cubicBezTo>
                    <a:pt x="75" y="33"/>
                    <a:pt x="80" y="39"/>
                    <a:pt x="89" y="39"/>
                  </a:cubicBezTo>
                  <a:cubicBezTo>
                    <a:pt x="95" y="39"/>
                    <a:pt x="98" y="37"/>
                    <a:pt x="102" y="30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6" y="32"/>
                    <a:pt x="94" y="34"/>
                    <a:pt x="91" y="34"/>
                  </a:cubicBezTo>
                  <a:cubicBezTo>
                    <a:pt x="86" y="34"/>
                    <a:pt x="83" y="29"/>
                    <a:pt x="82" y="19"/>
                  </a:cubicBezTo>
                  <a:cubicBezTo>
                    <a:pt x="102" y="19"/>
                    <a:pt x="102" y="19"/>
                    <a:pt x="102" y="19"/>
                  </a:cubicBezTo>
                  <a:close/>
                  <a:moveTo>
                    <a:pt x="82" y="15"/>
                  </a:moveTo>
                  <a:cubicBezTo>
                    <a:pt x="83" y="7"/>
                    <a:pt x="85" y="4"/>
                    <a:pt x="88" y="4"/>
                  </a:cubicBezTo>
                  <a:cubicBezTo>
                    <a:pt x="92" y="4"/>
                    <a:pt x="94" y="7"/>
                    <a:pt x="94" y="15"/>
                  </a:cubicBezTo>
                  <a:cubicBezTo>
                    <a:pt x="82" y="15"/>
                    <a:pt x="82" y="15"/>
                    <a:pt x="82" y="15"/>
                  </a:cubicBezTo>
                  <a:close/>
                  <a:moveTo>
                    <a:pt x="120" y="0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108" y="3"/>
                    <a:pt x="108" y="3"/>
                    <a:pt x="108" y="3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2" y="34"/>
                    <a:pt x="112" y="34"/>
                    <a:pt x="112" y="34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5" y="35"/>
                    <a:pt x="125" y="35"/>
                    <a:pt x="125" y="35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14"/>
                    <a:pt x="120" y="14"/>
                    <a:pt x="120" y="14"/>
                  </a:cubicBezTo>
                  <a:cubicBezTo>
                    <a:pt x="120" y="12"/>
                    <a:pt x="122" y="9"/>
                    <a:pt x="124" y="8"/>
                  </a:cubicBezTo>
                  <a:cubicBezTo>
                    <a:pt x="128" y="10"/>
                    <a:pt x="128" y="10"/>
                    <a:pt x="128" y="10"/>
                  </a:cubicBezTo>
                  <a:cubicBezTo>
                    <a:pt x="130" y="8"/>
                    <a:pt x="131" y="7"/>
                    <a:pt x="131" y="5"/>
                  </a:cubicBezTo>
                  <a:cubicBezTo>
                    <a:pt x="131" y="3"/>
                    <a:pt x="130" y="1"/>
                    <a:pt x="127" y="1"/>
                  </a:cubicBezTo>
                  <a:cubicBezTo>
                    <a:pt x="124" y="1"/>
                    <a:pt x="123" y="2"/>
                    <a:pt x="120" y="8"/>
                  </a:cubicBezTo>
                  <a:cubicBezTo>
                    <a:pt x="120" y="0"/>
                    <a:pt x="120" y="0"/>
                    <a:pt x="120" y="0"/>
                  </a:cubicBezTo>
                  <a:close/>
                  <a:moveTo>
                    <a:pt x="31" y="60"/>
                  </a:moveTo>
                  <a:cubicBezTo>
                    <a:pt x="28" y="60"/>
                    <a:pt x="26" y="63"/>
                    <a:pt x="26" y="65"/>
                  </a:cubicBezTo>
                  <a:cubicBezTo>
                    <a:pt x="26" y="68"/>
                    <a:pt x="28" y="70"/>
                    <a:pt x="31" y="70"/>
                  </a:cubicBezTo>
                  <a:cubicBezTo>
                    <a:pt x="34" y="70"/>
                    <a:pt x="36" y="68"/>
                    <a:pt x="36" y="65"/>
                  </a:cubicBezTo>
                  <a:cubicBezTo>
                    <a:pt x="36" y="63"/>
                    <a:pt x="34" y="60"/>
                    <a:pt x="31" y="60"/>
                  </a:cubicBezTo>
                  <a:close/>
                  <a:moveTo>
                    <a:pt x="39" y="117"/>
                  </a:moveTo>
                  <a:cubicBezTo>
                    <a:pt x="39" y="114"/>
                    <a:pt x="39" y="114"/>
                    <a:pt x="39" y="114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24" y="82"/>
                    <a:pt x="24" y="82"/>
                    <a:pt x="24" y="82"/>
                  </a:cubicBezTo>
                  <a:cubicBezTo>
                    <a:pt x="24" y="84"/>
                    <a:pt x="24" y="84"/>
                    <a:pt x="24" y="84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24" y="114"/>
                    <a:pt x="24" y="114"/>
                    <a:pt x="24" y="114"/>
                  </a:cubicBezTo>
                  <a:cubicBezTo>
                    <a:pt x="24" y="117"/>
                    <a:pt x="24" y="117"/>
                    <a:pt x="24" y="117"/>
                  </a:cubicBezTo>
                  <a:cubicBezTo>
                    <a:pt x="100" y="117"/>
                    <a:pt x="100" y="117"/>
                    <a:pt x="100" y="117"/>
                  </a:cubicBezTo>
                  <a:cubicBezTo>
                    <a:pt x="100" y="114"/>
                    <a:pt x="100" y="114"/>
                    <a:pt x="100" y="114"/>
                  </a:cubicBezTo>
                  <a:cubicBezTo>
                    <a:pt x="95" y="113"/>
                    <a:pt x="95" y="113"/>
                    <a:pt x="95" y="113"/>
                  </a:cubicBezTo>
                  <a:cubicBezTo>
                    <a:pt x="95" y="90"/>
                    <a:pt x="95" y="90"/>
                    <a:pt x="95" y="90"/>
                  </a:cubicBezTo>
                  <a:cubicBezTo>
                    <a:pt x="95" y="82"/>
                    <a:pt x="93" y="79"/>
                    <a:pt x="86" y="79"/>
                  </a:cubicBezTo>
                  <a:cubicBezTo>
                    <a:pt x="82" y="79"/>
                    <a:pt x="79" y="81"/>
                    <a:pt x="75" y="84"/>
                  </a:cubicBezTo>
                  <a:cubicBezTo>
                    <a:pt x="73" y="81"/>
                    <a:pt x="71" y="79"/>
                    <a:pt x="67" y="79"/>
                  </a:cubicBezTo>
                  <a:cubicBezTo>
                    <a:pt x="63" y="79"/>
                    <a:pt x="60" y="81"/>
                    <a:pt x="56" y="84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113"/>
                    <a:pt x="49" y="113"/>
                    <a:pt x="49" y="113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45" y="117"/>
                    <a:pt x="45" y="117"/>
                    <a:pt x="45" y="117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57" y="113"/>
                    <a:pt x="57" y="113"/>
                    <a:pt x="57" y="113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9" y="85"/>
                    <a:pt x="61" y="84"/>
                    <a:pt x="64" y="84"/>
                  </a:cubicBezTo>
                  <a:cubicBezTo>
                    <a:pt x="67" y="84"/>
                    <a:pt x="69" y="87"/>
                    <a:pt x="69" y="91"/>
                  </a:cubicBezTo>
                  <a:cubicBezTo>
                    <a:pt x="69" y="113"/>
                    <a:pt x="69" y="113"/>
                    <a:pt x="69" y="113"/>
                  </a:cubicBezTo>
                  <a:cubicBezTo>
                    <a:pt x="64" y="114"/>
                    <a:pt x="64" y="114"/>
                    <a:pt x="64" y="114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80" y="117"/>
                    <a:pt x="80" y="117"/>
                    <a:pt x="80" y="117"/>
                  </a:cubicBezTo>
                  <a:cubicBezTo>
                    <a:pt x="80" y="114"/>
                    <a:pt x="80" y="114"/>
                    <a:pt x="80" y="114"/>
                  </a:cubicBezTo>
                  <a:cubicBezTo>
                    <a:pt x="76" y="113"/>
                    <a:pt x="76" y="113"/>
                    <a:pt x="76" y="113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9" y="85"/>
                    <a:pt x="81" y="84"/>
                    <a:pt x="83" y="84"/>
                  </a:cubicBezTo>
                  <a:cubicBezTo>
                    <a:pt x="86" y="84"/>
                    <a:pt x="88" y="86"/>
                    <a:pt x="88" y="92"/>
                  </a:cubicBezTo>
                  <a:cubicBezTo>
                    <a:pt x="88" y="113"/>
                    <a:pt x="88" y="113"/>
                    <a:pt x="88" y="113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7"/>
                    <a:pt x="84" y="117"/>
                    <a:pt x="84" y="117"/>
                  </a:cubicBezTo>
                  <a:cubicBezTo>
                    <a:pt x="100" y="117"/>
                    <a:pt x="100" y="117"/>
                    <a:pt x="100" y="117"/>
                  </a:cubicBezTo>
                  <a:cubicBezTo>
                    <a:pt x="39" y="117"/>
                    <a:pt x="39" y="117"/>
                    <a:pt x="39" y="1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Slide Number"/>
          <p:cNvSpPr txBox="1">
            <a:spLocks/>
          </p:cNvSpPr>
          <p:nvPr userDrawn="1"/>
        </p:nvSpPr>
        <p:spPr bwMode="auto">
          <a:xfrm>
            <a:off x="8802412" y="6513631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343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defTabSz="913432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74946" y="6546014"/>
            <a:ext cx="6841963" cy="2198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defTabSz="913432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PRIVILEGED AND CONFIDENTIAL – ATTORNEY WORK PRODUCT – A/C PRIVILEGED</a:t>
            </a:r>
          </a:p>
          <a:p>
            <a:pPr defTabSz="913432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For integration preparation purposes only. All proposals will be subject to appropriate consultation where applicable with employees and employee representative bodies.</a:t>
            </a:r>
          </a:p>
        </p:txBody>
      </p:sp>
    </p:spTree>
    <p:extLst>
      <p:ext uri="{BB962C8B-B14F-4D97-AF65-F5344CB8AC3E}">
        <p14:creationId xmlns:p14="http://schemas.microsoft.com/office/powerpoint/2010/main" val="3824890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0860248"/>
              </p:ext>
            </p:extLst>
          </p:nvPr>
        </p:nvGraphicFramePr>
        <p:xfrm>
          <a:off x="1702" y="17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02" y="17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220" descr="D:\Team members\Don't Delete_Mithun\2016\01 January\28-01-2016\FT1764\Cover-01.jp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0" y="-92166"/>
            <a:ext cx="9144000" cy="6950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31851" y="220285"/>
            <a:ext cx="1312071" cy="388739"/>
          </a:xfrm>
          <a:prstGeom prst="rect">
            <a:avLst/>
          </a:prstGeom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631738" y="6039443"/>
            <a:ext cx="4727576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012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012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31738" y="3949083"/>
            <a:ext cx="4727576" cy="984884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31738" y="5199239"/>
            <a:ext cx="4727576" cy="282625"/>
          </a:xfrm>
        </p:spPr>
        <p:txBody>
          <a:bodyPr wrap="square">
            <a:spAutoFit/>
          </a:bodyPr>
          <a:lstStyle>
            <a:lvl1pPr>
              <a:defRPr sz="18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174946" y="6546014"/>
            <a:ext cx="6841963" cy="2198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defTabSz="914012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PRIVILEGED AND CONFIDENTIAL – ATTORNEY WORK PRODUCT – A/C PRIVILEGED</a:t>
            </a:r>
          </a:p>
          <a:p>
            <a:pPr defTabSz="914012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For integration preparation purposes only. All proposals will be subject to appropriate consultation where applicable with employees and employee representative bodies.</a:t>
            </a:r>
          </a:p>
        </p:txBody>
      </p:sp>
    </p:spTree>
    <p:extLst>
      <p:ext uri="{BB962C8B-B14F-4D97-AF65-F5344CB8AC3E}">
        <p14:creationId xmlns:p14="http://schemas.microsoft.com/office/powerpoint/2010/main" val="32131729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6540222"/>
              </p:ext>
            </p:extLst>
          </p:nvPr>
        </p:nvGraphicFramePr>
        <p:xfrm>
          <a:off x="1734" y="173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34" y="1734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174946" y="6546014"/>
            <a:ext cx="6841963" cy="2198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defTabSz="914012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PRIVILEGED AND CONFIDENTIAL – ATTORNEY WORK PRODUCT – A/C PRIVILEGED</a:t>
            </a:r>
          </a:p>
          <a:p>
            <a:pPr defTabSz="914012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For integration preparation purposes only. All proposals will be subject to appropriate consultation where applicable with employees and employee representative bodies.</a:t>
            </a:r>
          </a:p>
        </p:txBody>
      </p:sp>
    </p:spTree>
    <p:extLst>
      <p:ext uri="{BB962C8B-B14F-4D97-AF65-F5344CB8AC3E}">
        <p14:creationId xmlns:p14="http://schemas.microsoft.com/office/powerpoint/2010/main" val="13300191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87191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922" y="427026"/>
            <a:ext cx="8666145" cy="786121"/>
          </a:xfrm>
        </p:spPr>
        <p:txBody>
          <a:bodyPr>
            <a:noAutofit/>
          </a:bodyPr>
          <a:lstStyle>
            <a:lvl1pPr algn="l">
              <a:lnSpc>
                <a:spcPts val="2400"/>
              </a:lnSpc>
              <a:defRPr sz="2400" b="1" i="0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9262517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Slides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1498" y="283651"/>
            <a:ext cx="7145786" cy="597536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lnSpc>
                <a:spcPct val="70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"/>
          </p:nvPr>
        </p:nvSpPr>
        <p:spPr>
          <a:xfrm>
            <a:off x="271644" y="1494563"/>
            <a:ext cx="8624085" cy="551698"/>
          </a:xfrm>
          <a:prstGeom prst="rect">
            <a:avLst/>
          </a:prstGeom>
        </p:spPr>
        <p:txBody>
          <a:bodyPr lIns="78943" tIns="39474" rIns="78943" bIns="39474"/>
          <a:lstStyle>
            <a:lvl1pPr marL="152110" indent="-152110">
              <a:buClr>
                <a:schemeClr val="accent1"/>
              </a:buClr>
              <a:buFont typeface="Wingdings" pitchFamily="2" charset="2"/>
              <a:buChar char=""/>
              <a:defRPr sz="1000">
                <a:latin typeface="Calibri" pitchFamily="34" charset="0"/>
                <a:cs typeface="Calibri" pitchFamily="34" charset="0"/>
              </a:defRPr>
            </a:lvl1pPr>
            <a:lvl2pPr marL="313826" indent="-161708">
              <a:buClr>
                <a:schemeClr val="accent1"/>
              </a:buClr>
              <a:buSzPct val="90000"/>
              <a:buFont typeface="Wingdings" pitchFamily="2" charset="2"/>
              <a:buChar char="n"/>
              <a:defRPr sz="1000">
                <a:latin typeface="Calibri" pitchFamily="34" charset="0"/>
                <a:cs typeface="Calibri" pitchFamily="34" charset="0"/>
              </a:defRPr>
            </a:lvl2pPr>
            <a:lvl3pPr marL="475575" indent="-161708">
              <a:buClr>
                <a:schemeClr val="accent1"/>
              </a:buClr>
              <a:buSzPct val="80000"/>
              <a:buFont typeface="Wingdings" pitchFamily="2" charset="2"/>
              <a:buChar char="n"/>
              <a:defRPr sz="1000">
                <a:latin typeface="Calibri" pitchFamily="34" charset="0"/>
                <a:cs typeface="Calibri" pitchFamily="34" charset="0"/>
              </a:defRPr>
            </a:lvl3pPr>
            <a:lvl4pPr marL="619400" indent="-153461">
              <a:defRPr sz="1000">
                <a:latin typeface="Calibri" pitchFamily="34" charset="0"/>
                <a:cs typeface="Calibri" pitchFamily="34" charset="0"/>
              </a:defRPr>
            </a:lvl4pPr>
            <a:lvl5pPr marL="771514" indent="-152110">
              <a:buClr>
                <a:schemeClr val="accent1"/>
              </a:buClr>
              <a:buFont typeface="Arial" pitchFamily="34" charset="0"/>
              <a:buChar char="•"/>
              <a:defRPr sz="10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746359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81471" y="835174"/>
            <a:ext cx="6783369" cy="3667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1798" indent="0">
              <a:buNone/>
              <a:defRPr/>
            </a:lvl2pPr>
            <a:lvl3pPr marL="903608" indent="0">
              <a:buNone/>
              <a:defRPr/>
            </a:lvl3pPr>
            <a:lvl4pPr marL="1355411" indent="0">
              <a:buNone/>
              <a:defRPr/>
            </a:lvl4pPr>
            <a:lvl5pPr marL="1807214" indent="0">
              <a:buNone/>
              <a:defRPr/>
            </a:lvl5pPr>
          </a:lstStyle>
          <a:p>
            <a:pPr lvl="0"/>
            <a:r>
              <a:rPr lang="en-US" dirty="0"/>
              <a:t>Click to edit Master Subhead styles</a:t>
            </a:r>
          </a:p>
        </p:txBody>
      </p:sp>
    </p:spTree>
    <p:extLst>
      <p:ext uri="{BB962C8B-B14F-4D97-AF65-F5344CB8AC3E}">
        <p14:creationId xmlns:p14="http://schemas.microsoft.com/office/powerpoint/2010/main" val="2390499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47868" y="2182090"/>
            <a:ext cx="8234170" cy="3628338"/>
          </a:xfrm>
        </p:spPr>
        <p:txBody>
          <a:bodyPr>
            <a:noAutofit/>
          </a:bodyPr>
          <a:lstStyle>
            <a:lvl1pPr>
              <a:spcBef>
                <a:spcPts val="1500"/>
              </a:spcBef>
              <a:defRPr sz="1800"/>
            </a:lvl1pPr>
            <a:lvl2pPr marL="506717" indent="-174135">
              <a:spcBef>
                <a:spcPts val="700"/>
              </a:spcBef>
              <a:buFont typeface="Arial" panose="020B0604020202020204" pitchFamily="34" charset="0"/>
              <a:buChar char="–"/>
              <a:defRPr sz="1600"/>
            </a:lvl2pPr>
            <a:lvl3pPr marL="792228" indent="-166291">
              <a:spcBef>
                <a:spcPts val="300"/>
              </a:spcBef>
              <a:defRPr sz="1400"/>
            </a:lvl3pPr>
            <a:lvl4pPr marL="1069900" indent="-166291">
              <a:spcBef>
                <a:spcPts val="200"/>
              </a:spcBef>
              <a:buFont typeface="Arial" panose="020B0604020202020204" pitchFamily="34" charset="0"/>
              <a:buChar char="–"/>
              <a:defRPr sz="1200"/>
            </a:lvl4pPr>
            <a:lvl5pPr marL="1355411" indent="-167859">
              <a:spcBef>
                <a:spcPts val="100"/>
              </a:spcBef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7882" y="1433804"/>
            <a:ext cx="8245281" cy="67170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1798" indent="0">
              <a:buNone/>
              <a:defRPr sz="2000" b="1"/>
            </a:lvl2pPr>
            <a:lvl3pPr marL="903608" indent="0">
              <a:buNone/>
              <a:defRPr sz="1800" b="1"/>
            </a:lvl3pPr>
            <a:lvl4pPr marL="1355411" indent="0">
              <a:buNone/>
              <a:defRPr sz="1600" b="1"/>
            </a:lvl4pPr>
            <a:lvl5pPr marL="1807214" indent="0">
              <a:buNone/>
              <a:defRPr sz="1600" b="1"/>
            </a:lvl5pPr>
            <a:lvl6pPr marL="2259020" indent="0">
              <a:buNone/>
              <a:defRPr sz="1600" b="1"/>
            </a:lvl6pPr>
            <a:lvl7pPr marL="2710829" indent="0">
              <a:buNone/>
              <a:defRPr sz="1600" b="1"/>
            </a:lvl7pPr>
            <a:lvl8pPr marL="3162631" indent="0">
              <a:buNone/>
              <a:defRPr sz="1600" b="1"/>
            </a:lvl8pPr>
            <a:lvl9pPr marL="3614432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57200" y="5922151"/>
            <a:ext cx="7616536" cy="214226"/>
          </a:xfrm>
        </p:spPr>
        <p:txBody>
          <a:bodyPr wrap="square" anchor="b" anchorCtr="0">
            <a:noAutofit/>
          </a:bodyPr>
          <a:lstStyle>
            <a:lvl1pPr marL="0" indent="0">
              <a:lnSpc>
                <a:spcPct val="88000"/>
              </a:lnSpc>
              <a:spcBef>
                <a:spcPts val="120"/>
              </a:spcBef>
              <a:buNone/>
              <a:tabLst/>
              <a:defRPr sz="800"/>
            </a:lvl1pPr>
            <a:lvl2pPr marL="451798" indent="0">
              <a:buNone/>
              <a:defRPr/>
            </a:lvl2pPr>
            <a:lvl3pPr marL="903608" indent="0">
              <a:buNone/>
              <a:defRPr/>
            </a:lvl3pPr>
            <a:lvl4pPr marL="1244032" indent="0">
              <a:buNone/>
              <a:defRPr/>
            </a:lvl4pPr>
            <a:lvl5pPr marL="1639358" indent="0">
              <a:buNone/>
              <a:defRPr/>
            </a:lvl5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21" y="847159"/>
            <a:ext cx="8220142" cy="355482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2"/>
                </a:solidFill>
              </a:defRPr>
            </a:lvl1pPr>
            <a:lvl2pPr marL="451798" indent="0">
              <a:buNone/>
              <a:defRPr/>
            </a:lvl2pPr>
            <a:lvl3pPr marL="903608" indent="0">
              <a:buNone/>
              <a:defRPr/>
            </a:lvl3pPr>
            <a:lvl4pPr marL="1244032" indent="0">
              <a:buNone/>
              <a:defRPr/>
            </a:lvl4pPr>
            <a:lvl5pPr marL="1639358" indent="0"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06115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ltGray">
          <a:xfrm>
            <a:off x="3239" y="6402452"/>
            <a:ext cx="9140760" cy="379385"/>
          </a:xfrm>
          <a:prstGeom prst="rect">
            <a:avLst/>
          </a:prstGeom>
          <a:solidFill>
            <a:srgbClr val="285888"/>
          </a:solidFill>
          <a:ln w="9525">
            <a:solidFill>
              <a:srgbClr val="28588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3196" tIns="46599" rIns="93196" bIns="46599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70301"/>
            <a:endParaRPr lang="en-US" sz="1000" b="1" kern="0" dirty="0">
              <a:solidFill>
                <a:srgbClr val="FFFFFF"/>
              </a:solidFill>
              <a:latin typeface="BISansCond"/>
              <a:cs typeface="Arial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 bwMode="ltGray">
          <a:xfrm>
            <a:off x="3239" y="6781838"/>
            <a:ext cx="9140760" cy="74551"/>
          </a:xfrm>
          <a:prstGeom prst="rect">
            <a:avLst/>
          </a:prstGeom>
          <a:solidFill>
            <a:srgbClr val="003366"/>
          </a:solidFill>
          <a:ln w="9525">
            <a:solidFill>
              <a:srgbClr val="00336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3196" tIns="46599" rIns="93196" bIns="46599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70301"/>
            <a:endParaRPr lang="en-US" sz="1000" b="1" kern="0" dirty="0">
              <a:solidFill>
                <a:srgbClr val="FFFFFF"/>
              </a:solidFill>
              <a:latin typeface="BISansCond"/>
              <a:cs typeface="Arial" pitchFamily="34" charset="0"/>
            </a:endParaRPr>
          </a:p>
        </p:txBody>
      </p:sp>
      <p:grpSp>
        <p:nvGrpSpPr>
          <p:cNvPr id="4" name="Group 3"/>
          <p:cNvGrpSpPr/>
          <p:nvPr userDrawn="1"/>
        </p:nvGrpSpPr>
        <p:grpSpPr bwMode="auto">
          <a:xfrm>
            <a:off x="7607998" y="6445567"/>
            <a:ext cx="1020082" cy="308657"/>
            <a:chOff x="2103438" y="-793750"/>
            <a:chExt cx="1893887" cy="573087"/>
          </a:xfrm>
        </p:grpSpPr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2755900" y="-768350"/>
              <a:ext cx="401637" cy="547687"/>
            </a:xfrm>
            <a:custGeom>
              <a:avLst/>
              <a:gdLst>
                <a:gd name="T0" fmla="*/ 13 w 107"/>
                <a:gd name="T1" fmla="*/ 4 h 146"/>
                <a:gd name="T2" fmla="*/ 26 w 107"/>
                <a:gd name="T3" fmla="*/ 13 h 146"/>
                <a:gd name="T4" fmla="*/ 13 w 107"/>
                <a:gd name="T5" fmla="*/ 24 h 146"/>
                <a:gd name="T6" fmla="*/ 0 w 107"/>
                <a:gd name="T7" fmla="*/ 1 h 146"/>
                <a:gd name="T8" fmla="*/ 5 w 107"/>
                <a:gd name="T9" fmla="*/ 5 h 146"/>
                <a:gd name="T10" fmla="*/ 0 w 107"/>
                <a:gd name="T11" fmla="*/ 50 h 146"/>
                <a:gd name="T12" fmla="*/ 9 w 107"/>
                <a:gd name="T13" fmla="*/ 53 h 146"/>
                <a:gd name="T14" fmla="*/ 19 w 107"/>
                <a:gd name="T15" fmla="*/ 54 h 146"/>
                <a:gd name="T16" fmla="*/ 38 w 107"/>
                <a:gd name="T17" fmla="*/ 40 h 146"/>
                <a:gd name="T18" fmla="*/ 35 w 107"/>
                <a:gd name="T19" fmla="*/ 13 h 146"/>
                <a:gd name="T20" fmla="*/ 15 w 107"/>
                <a:gd name="T21" fmla="*/ 0 h 146"/>
                <a:gd name="T22" fmla="*/ 13 w 107"/>
                <a:gd name="T23" fmla="*/ 28 h 146"/>
                <a:gd name="T24" fmla="*/ 29 w 107"/>
                <a:gd name="T25" fmla="*/ 39 h 146"/>
                <a:gd name="T26" fmla="*/ 13 w 107"/>
                <a:gd name="T27" fmla="*/ 49 h 146"/>
                <a:gd name="T28" fmla="*/ 59 w 107"/>
                <a:gd name="T29" fmla="*/ 15 h 146"/>
                <a:gd name="T30" fmla="*/ 59 w 107"/>
                <a:gd name="T31" fmla="*/ 54 h 146"/>
                <a:gd name="T32" fmla="*/ 59 w 107"/>
                <a:gd name="T33" fmla="*/ 15 h 146"/>
                <a:gd name="T34" fmla="*/ 66 w 107"/>
                <a:gd name="T35" fmla="*/ 33 h 146"/>
                <a:gd name="T36" fmla="*/ 52 w 107"/>
                <a:gd name="T37" fmla="*/ 35 h 146"/>
                <a:gd name="T38" fmla="*/ 107 w 107"/>
                <a:gd name="T39" fmla="*/ 34 h 146"/>
                <a:gd name="T40" fmla="*/ 80 w 107"/>
                <a:gd name="T41" fmla="*/ 36 h 146"/>
                <a:gd name="T42" fmla="*/ 107 w 107"/>
                <a:gd name="T43" fmla="*/ 45 h 146"/>
                <a:gd name="T44" fmla="*/ 96 w 107"/>
                <a:gd name="T45" fmla="*/ 49 h 146"/>
                <a:gd name="T46" fmla="*/ 107 w 107"/>
                <a:gd name="T47" fmla="*/ 34 h 146"/>
                <a:gd name="T48" fmla="*/ 94 w 107"/>
                <a:gd name="T49" fmla="*/ 19 h 146"/>
                <a:gd name="T50" fmla="*/ 87 w 107"/>
                <a:gd name="T51" fmla="*/ 30 h 146"/>
                <a:gd name="T52" fmla="*/ 17 w 107"/>
                <a:gd name="T53" fmla="*/ 129 h 146"/>
                <a:gd name="T54" fmla="*/ 13 w 107"/>
                <a:gd name="T55" fmla="*/ 83 h 146"/>
                <a:gd name="T56" fmla="*/ 18 w 107"/>
                <a:gd name="T57" fmla="*/ 79 h 146"/>
                <a:gd name="T58" fmla="*/ 0 w 107"/>
                <a:gd name="T59" fmla="*/ 82 h 146"/>
                <a:gd name="T60" fmla="*/ 5 w 107"/>
                <a:gd name="T61" fmla="*/ 128 h 146"/>
                <a:gd name="T62" fmla="*/ 0 w 107"/>
                <a:gd name="T63" fmla="*/ 132 h 146"/>
                <a:gd name="T64" fmla="*/ 57 w 107"/>
                <a:gd name="T65" fmla="*/ 132 h 146"/>
                <a:gd name="T66" fmla="*/ 53 w 107"/>
                <a:gd name="T67" fmla="*/ 128 h 146"/>
                <a:gd name="T68" fmla="*/ 44 w 107"/>
                <a:gd name="T69" fmla="*/ 94 h 146"/>
                <a:gd name="T70" fmla="*/ 34 w 107"/>
                <a:gd name="T71" fmla="*/ 94 h 146"/>
                <a:gd name="T72" fmla="*/ 23 w 107"/>
                <a:gd name="T73" fmla="*/ 96 h 146"/>
                <a:gd name="T74" fmla="*/ 27 w 107"/>
                <a:gd name="T75" fmla="*/ 100 h 146"/>
                <a:gd name="T76" fmla="*/ 23 w 107"/>
                <a:gd name="T77" fmla="*/ 129 h 146"/>
                <a:gd name="T78" fmla="*/ 38 w 107"/>
                <a:gd name="T79" fmla="*/ 132 h 146"/>
                <a:gd name="T80" fmla="*/ 34 w 107"/>
                <a:gd name="T81" fmla="*/ 128 h 146"/>
                <a:gd name="T82" fmla="*/ 42 w 107"/>
                <a:gd name="T83" fmla="*/ 99 h 146"/>
                <a:gd name="T84" fmla="*/ 46 w 107"/>
                <a:gd name="T85" fmla="*/ 128 h 146"/>
                <a:gd name="T86" fmla="*/ 42 w 107"/>
                <a:gd name="T87" fmla="*/ 132 h 146"/>
                <a:gd name="T88" fmla="*/ 93 w 107"/>
                <a:gd name="T89" fmla="*/ 99 h 146"/>
                <a:gd name="T90" fmla="*/ 87 w 107"/>
                <a:gd name="T91" fmla="*/ 95 h 146"/>
                <a:gd name="T92" fmla="*/ 84 w 107"/>
                <a:gd name="T93" fmla="*/ 95 h 146"/>
                <a:gd name="T94" fmla="*/ 76 w 107"/>
                <a:gd name="T95" fmla="*/ 93 h 146"/>
                <a:gd name="T96" fmla="*/ 70 w 107"/>
                <a:gd name="T97" fmla="*/ 117 h 146"/>
                <a:gd name="T98" fmla="*/ 67 w 107"/>
                <a:gd name="T99" fmla="*/ 130 h 146"/>
                <a:gd name="T100" fmla="*/ 75 w 107"/>
                <a:gd name="T101" fmla="*/ 146 h 146"/>
                <a:gd name="T102" fmla="*/ 82 w 107"/>
                <a:gd name="T103" fmla="*/ 124 h 146"/>
                <a:gd name="T104" fmla="*/ 70 w 107"/>
                <a:gd name="T105" fmla="*/ 122 h 146"/>
                <a:gd name="T106" fmla="*/ 77 w 107"/>
                <a:gd name="T107" fmla="*/ 119 h 146"/>
                <a:gd name="T108" fmla="*/ 87 w 107"/>
                <a:gd name="T109" fmla="*/ 99 h 146"/>
                <a:gd name="T110" fmla="*/ 76 w 107"/>
                <a:gd name="T111" fmla="*/ 97 h 146"/>
                <a:gd name="T112" fmla="*/ 77 w 107"/>
                <a:gd name="T113" fmla="*/ 115 h 146"/>
                <a:gd name="T114" fmla="*/ 76 w 107"/>
                <a:gd name="T115" fmla="*/ 97 h 146"/>
                <a:gd name="T116" fmla="*/ 88 w 107"/>
                <a:gd name="T117" fmla="*/ 135 h 146"/>
                <a:gd name="T118" fmla="*/ 68 w 107"/>
                <a:gd name="T119" fmla="*/ 136 h 146"/>
                <a:gd name="T120" fmla="*/ 74 w 107"/>
                <a:gd name="T121" fmla="*/ 131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7" h="146">
                  <a:moveTo>
                    <a:pt x="13" y="24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15" y="4"/>
                    <a:pt x="16" y="3"/>
                    <a:pt x="17" y="3"/>
                  </a:cubicBezTo>
                  <a:cubicBezTo>
                    <a:pt x="23" y="3"/>
                    <a:pt x="26" y="7"/>
                    <a:pt x="26" y="13"/>
                  </a:cubicBezTo>
                  <a:cubicBezTo>
                    <a:pt x="26" y="21"/>
                    <a:pt x="23" y="24"/>
                    <a:pt x="16" y="24"/>
                  </a:cubicBezTo>
                  <a:cubicBezTo>
                    <a:pt x="13" y="24"/>
                    <a:pt x="13" y="24"/>
                    <a:pt x="13" y="24"/>
                  </a:cubicBezTo>
                  <a:close/>
                  <a:moveTo>
                    <a:pt x="9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10" y="53"/>
                    <a:pt x="12" y="53"/>
                    <a:pt x="15" y="54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5" y="54"/>
                    <a:pt x="27" y="53"/>
                    <a:pt x="30" y="52"/>
                  </a:cubicBezTo>
                  <a:cubicBezTo>
                    <a:pt x="35" y="50"/>
                    <a:pt x="38" y="45"/>
                    <a:pt x="38" y="40"/>
                  </a:cubicBezTo>
                  <a:cubicBezTo>
                    <a:pt x="38" y="32"/>
                    <a:pt x="34" y="27"/>
                    <a:pt x="26" y="25"/>
                  </a:cubicBezTo>
                  <a:cubicBezTo>
                    <a:pt x="32" y="22"/>
                    <a:pt x="35" y="18"/>
                    <a:pt x="35" y="13"/>
                  </a:cubicBezTo>
                  <a:cubicBezTo>
                    <a:pt x="35" y="5"/>
                    <a:pt x="29" y="0"/>
                    <a:pt x="20" y="0"/>
                  </a:cubicBezTo>
                  <a:cubicBezTo>
                    <a:pt x="20" y="0"/>
                    <a:pt x="18" y="0"/>
                    <a:pt x="15" y="0"/>
                  </a:cubicBezTo>
                  <a:cubicBezTo>
                    <a:pt x="9" y="1"/>
                    <a:pt x="9" y="1"/>
                    <a:pt x="9" y="1"/>
                  </a:cubicBezTo>
                  <a:close/>
                  <a:moveTo>
                    <a:pt x="13" y="28"/>
                  </a:moveTo>
                  <a:cubicBezTo>
                    <a:pt x="16" y="28"/>
                    <a:pt x="16" y="28"/>
                    <a:pt x="16" y="28"/>
                  </a:cubicBezTo>
                  <a:cubicBezTo>
                    <a:pt x="25" y="28"/>
                    <a:pt x="29" y="31"/>
                    <a:pt x="29" y="39"/>
                  </a:cubicBezTo>
                  <a:cubicBezTo>
                    <a:pt x="29" y="46"/>
                    <a:pt x="25" y="50"/>
                    <a:pt x="17" y="50"/>
                  </a:cubicBezTo>
                  <a:cubicBezTo>
                    <a:pt x="15" y="50"/>
                    <a:pt x="14" y="50"/>
                    <a:pt x="13" y="49"/>
                  </a:cubicBezTo>
                  <a:cubicBezTo>
                    <a:pt x="13" y="28"/>
                    <a:pt x="13" y="28"/>
                    <a:pt x="13" y="28"/>
                  </a:cubicBezTo>
                  <a:close/>
                  <a:moveTo>
                    <a:pt x="59" y="15"/>
                  </a:moveTo>
                  <a:cubicBezTo>
                    <a:pt x="50" y="15"/>
                    <a:pt x="44" y="23"/>
                    <a:pt x="44" y="35"/>
                  </a:cubicBezTo>
                  <a:cubicBezTo>
                    <a:pt x="44" y="46"/>
                    <a:pt x="50" y="54"/>
                    <a:pt x="59" y="54"/>
                  </a:cubicBezTo>
                  <a:cubicBezTo>
                    <a:pt x="68" y="54"/>
                    <a:pt x="74" y="46"/>
                    <a:pt x="74" y="34"/>
                  </a:cubicBezTo>
                  <a:cubicBezTo>
                    <a:pt x="74" y="23"/>
                    <a:pt x="68" y="15"/>
                    <a:pt x="59" y="15"/>
                  </a:cubicBezTo>
                  <a:close/>
                  <a:moveTo>
                    <a:pt x="59" y="19"/>
                  </a:moveTo>
                  <a:cubicBezTo>
                    <a:pt x="63" y="19"/>
                    <a:pt x="66" y="24"/>
                    <a:pt x="66" y="33"/>
                  </a:cubicBezTo>
                  <a:cubicBezTo>
                    <a:pt x="66" y="44"/>
                    <a:pt x="63" y="50"/>
                    <a:pt x="59" y="50"/>
                  </a:cubicBezTo>
                  <a:cubicBezTo>
                    <a:pt x="54" y="50"/>
                    <a:pt x="52" y="45"/>
                    <a:pt x="52" y="35"/>
                  </a:cubicBezTo>
                  <a:cubicBezTo>
                    <a:pt x="52" y="25"/>
                    <a:pt x="55" y="19"/>
                    <a:pt x="59" y="19"/>
                  </a:cubicBezTo>
                  <a:close/>
                  <a:moveTo>
                    <a:pt x="107" y="34"/>
                  </a:moveTo>
                  <a:cubicBezTo>
                    <a:pt x="107" y="21"/>
                    <a:pt x="103" y="15"/>
                    <a:pt x="94" y="15"/>
                  </a:cubicBezTo>
                  <a:cubicBezTo>
                    <a:pt x="85" y="15"/>
                    <a:pt x="80" y="23"/>
                    <a:pt x="80" y="36"/>
                  </a:cubicBezTo>
                  <a:cubicBezTo>
                    <a:pt x="80" y="48"/>
                    <a:pt x="85" y="54"/>
                    <a:pt x="94" y="54"/>
                  </a:cubicBezTo>
                  <a:cubicBezTo>
                    <a:pt x="100" y="54"/>
                    <a:pt x="103" y="52"/>
                    <a:pt x="107" y="45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1" y="47"/>
                    <a:pt x="99" y="49"/>
                    <a:pt x="96" y="49"/>
                  </a:cubicBezTo>
                  <a:cubicBezTo>
                    <a:pt x="91" y="49"/>
                    <a:pt x="88" y="44"/>
                    <a:pt x="87" y="34"/>
                  </a:cubicBezTo>
                  <a:cubicBezTo>
                    <a:pt x="107" y="34"/>
                    <a:pt x="107" y="34"/>
                    <a:pt x="107" y="34"/>
                  </a:cubicBezTo>
                  <a:close/>
                  <a:moveTo>
                    <a:pt x="87" y="30"/>
                  </a:moveTo>
                  <a:cubicBezTo>
                    <a:pt x="88" y="22"/>
                    <a:pt x="90" y="19"/>
                    <a:pt x="94" y="19"/>
                  </a:cubicBezTo>
                  <a:cubicBezTo>
                    <a:pt x="97" y="19"/>
                    <a:pt x="99" y="22"/>
                    <a:pt x="99" y="30"/>
                  </a:cubicBezTo>
                  <a:cubicBezTo>
                    <a:pt x="87" y="30"/>
                    <a:pt x="87" y="30"/>
                    <a:pt x="87" y="30"/>
                  </a:cubicBezTo>
                  <a:close/>
                  <a:moveTo>
                    <a:pt x="17" y="13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17" y="132"/>
                    <a:pt x="17" y="132"/>
                    <a:pt x="17" y="132"/>
                  </a:cubicBezTo>
                  <a:close/>
                  <a:moveTo>
                    <a:pt x="57" y="132"/>
                  </a:moveTo>
                  <a:cubicBezTo>
                    <a:pt x="57" y="129"/>
                    <a:pt x="57" y="129"/>
                    <a:pt x="57" y="129"/>
                  </a:cubicBezTo>
                  <a:cubicBezTo>
                    <a:pt x="53" y="128"/>
                    <a:pt x="53" y="128"/>
                    <a:pt x="53" y="128"/>
                  </a:cubicBezTo>
                  <a:cubicBezTo>
                    <a:pt x="53" y="104"/>
                    <a:pt x="53" y="104"/>
                    <a:pt x="53" y="104"/>
                  </a:cubicBezTo>
                  <a:cubicBezTo>
                    <a:pt x="53" y="98"/>
                    <a:pt x="50" y="94"/>
                    <a:pt x="44" y="94"/>
                  </a:cubicBezTo>
                  <a:cubicBezTo>
                    <a:pt x="41" y="94"/>
                    <a:pt x="39" y="95"/>
                    <a:pt x="34" y="98"/>
                  </a:cubicBezTo>
                  <a:cubicBezTo>
                    <a:pt x="34" y="94"/>
                    <a:pt x="34" y="94"/>
                    <a:pt x="34" y="94"/>
                  </a:cubicBezTo>
                  <a:cubicBezTo>
                    <a:pt x="32" y="94"/>
                    <a:pt x="32" y="94"/>
                    <a:pt x="32" y="94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7" y="100"/>
                    <a:pt x="27" y="100"/>
                    <a:pt x="27" y="100"/>
                  </a:cubicBezTo>
                  <a:cubicBezTo>
                    <a:pt x="27" y="128"/>
                    <a:pt x="27" y="128"/>
                    <a:pt x="27" y="128"/>
                  </a:cubicBezTo>
                  <a:cubicBezTo>
                    <a:pt x="23" y="129"/>
                    <a:pt x="23" y="129"/>
                    <a:pt x="23" y="129"/>
                  </a:cubicBezTo>
                  <a:cubicBezTo>
                    <a:pt x="23" y="132"/>
                    <a:pt x="23" y="132"/>
                    <a:pt x="23" y="132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29"/>
                    <a:pt x="38" y="129"/>
                    <a:pt x="38" y="129"/>
                  </a:cubicBezTo>
                  <a:cubicBezTo>
                    <a:pt x="34" y="128"/>
                    <a:pt x="34" y="128"/>
                    <a:pt x="34" y="128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37" y="100"/>
                    <a:pt x="39" y="99"/>
                    <a:pt x="42" y="99"/>
                  </a:cubicBezTo>
                  <a:cubicBezTo>
                    <a:pt x="45" y="99"/>
                    <a:pt x="46" y="101"/>
                    <a:pt x="46" y="106"/>
                  </a:cubicBezTo>
                  <a:cubicBezTo>
                    <a:pt x="46" y="128"/>
                    <a:pt x="46" y="128"/>
                    <a:pt x="46" y="128"/>
                  </a:cubicBezTo>
                  <a:cubicBezTo>
                    <a:pt x="42" y="129"/>
                    <a:pt x="42" y="129"/>
                    <a:pt x="42" y="129"/>
                  </a:cubicBezTo>
                  <a:cubicBezTo>
                    <a:pt x="42" y="132"/>
                    <a:pt x="42" y="132"/>
                    <a:pt x="42" y="132"/>
                  </a:cubicBezTo>
                  <a:cubicBezTo>
                    <a:pt x="57" y="132"/>
                    <a:pt x="57" y="132"/>
                    <a:pt x="57" y="132"/>
                  </a:cubicBezTo>
                  <a:close/>
                  <a:moveTo>
                    <a:pt x="93" y="99"/>
                  </a:moveTo>
                  <a:cubicBezTo>
                    <a:pt x="93" y="95"/>
                    <a:pt x="93" y="95"/>
                    <a:pt x="93" y="95"/>
                  </a:cubicBezTo>
                  <a:cubicBezTo>
                    <a:pt x="87" y="95"/>
                    <a:pt x="87" y="95"/>
                    <a:pt x="87" y="95"/>
                  </a:cubicBezTo>
                  <a:cubicBezTo>
                    <a:pt x="86" y="95"/>
                    <a:pt x="86" y="95"/>
                    <a:pt x="86" y="95"/>
                  </a:cubicBezTo>
                  <a:cubicBezTo>
                    <a:pt x="85" y="95"/>
                    <a:pt x="84" y="95"/>
                    <a:pt x="84" y="95"/>
                  </a:cubicBezTo>
                  <a:cubicBezTo>
                    <a:pt x="84" y="95"/>
                    <a:pt x="82" y="95"/>
                    <a:pt x="81" y="94"/>
                  </a:cubicBezTo>
                  <a:cubicBezTo>
                    <a:pt x="78" y="94"/>
                    <a:pt x="78" y="93"/>
                    <a:pt x="76" y="93"/>
                  </a:cubicBezTo>
                  <a:cubicBezTo>
                    <a:pt x="69" y="93"/>
                    <a:pt x="63" y="99"/>
                    <a:pt x="63" y="106"/>
                  </a:cubicBezTo>
                  <a:cubicBezTo>
                    <a:pt x="63" y="111"/>
                    <a:pt x="65" y="114"/>
                    <a:pt x="70" y="117"/>
                  </a:cubicBezTo>
                  <a:cubicBezTo>
                    <a:pt x="65" y="120"/>
                    <a:pt x="63" y="122"/>
                    <a:pt x="63" y="125"/>
                  </a:cubicBezTo>
                  <a:cubicBezTo>
                    <a:pt x="63" y="127"/>
                    <a:pt x="64" y="129"/>
                    <a:pt x="67" y="130"/>
                  </a:cubicBezTo>
                  <a:cubicBezTo>
                    <a:pt x="62" y="133"/>
                    <a:pt x="61" y="135"/>
                    <a:pt x="61" y="138"/>
                  </a:cubicBezTo>
                  <a:cubicBezTo>
                    <a:pt x="61" y="143"/>
                    <a:pt x="66" y="146"/>
                    <a:pt x="75" y="146"/>
                  </a:cubicBezTo>
                  <a:cubicBezTo>
                    <a:pt x="86" y="146"/>
                    <a:pt x="93" y="141"/>
                    <a:pt x="93" y="132"/>
                  </a:cubicBezTo>
                  <a:cubicBezTo>
                    <a:pt x="93" y="127"/>
                    <a:pt x="90" y="124"/>
                    <a:pt x="82" y="124"/>
                  </a:cubicBezTo>
                  <a:cubicBezTo>
                    <a:pt x="73" y="123"/>
                    <a:pt x="73" y="123"/>
                    <a:pt x="73" y="123"/>
                  </a:cubicBezTo>
                  <a:cubicBezTo>
                    <a:pt x="71" y="123"/>
                    <a:pt x="70" y="123"/>
                    <a:pt x="70" y="122"/>
                  </a:cubicBezTo>
                  <a:cubicBezTo>
                    <a:pt x="70" y="121"/>
                    <a:pt x="71" y="119"/>
                    <a:pt x="73" y="118"/>
                  </a:cubicBezTo>
                  <a:cubicBezTo>
                    <a:pt x="74" y="119"/>
                    <a:pt x="75" y="119"/>
                    <a:pt x="77" y="119"/>
                  </a:cubicBezTo>
                  <a:cubicBezTo>
                    <a:pt x="84" y="119"/>
                    <a:pt x="90" y="114"/>
                    <a:pt x="90" y="107"/>
                  </a:cubicBezTo>
                  <a:cubicBezTo>
                    <a:pt x="90" y="104"/>
                    <a:pt x="89" y="102"/>
                    <a:pt x="87" y="99"/>
                  </a:cubicBezTo>
                  <a:cubicBezTo>
                    <a:pt x="93" y="99"/>
                    <a:pt x="93" y="99"/>
                    <a:pt x="93" y="99"/>
                  </a:cubicBezTo>
                  <a:close/>
                  <a:moveTo>
                    <a:pt x="76" y="97"/>
                  </a:moveTo>
                  <a:cubicBezTo>
                    <a:pt x="80" y="97"/>
                    <a:pt x="82" y="100"/>
                    <a:pt x="82" y="107"/>
                  </a:cubicBezTo>
                  <a:cubicBezTo>
                    <a:pt x="82" y="112"/>
                    <a:pt x="80" y="115"/>
                    <a:pt x="77" y="115"/>
                  </a:cubicBezTo>
                  <a:cubicBezTo>
                    <a:pt x="73" y="115"/>
                    <a:pt x="71" y="112"/>
                    <a:pt x="71" y="106"/>
                  </a:cubicBezTo>
                  <a:cubicBezTo>
                    <a:pt x="71" y="100"/>
                    <a:pt x="73" y="97"/>
                    <a:pt x="76" y="97"/>
                  </a:cubicBezTo>
                  <a:close/>
                  <a:moveTo>
                    <a:pt x="74" y="131"/>
                  </a:moveTo>
                  <a:cubicBezTo>
                    <a:pt x="86" y="131"/>
                    <a:pt x="88" y="132"/>
                    <a:pt x="88" y="135"/>
                  </a:cubicBezTo>
                  <a:cubicBezTo>
                    <a:pt x="88" y="139"/>
                    <a:pt x="83" y="142"/>
                    <a:pt x="76" y="142"/>
                  </a:cubicBezTo>
                  <a:cubicBezTo>
                    <a:pt x="71" y="142"/>
                    <a:pt x="68" y="140"/>
                    <a:pt x="68" y="136"/>
                  </a:cubicBezTo>
                  <a:cubicBezTo>
                    <a:pt x="68" y="134"/>
                    <a:pt x="69" y="132"/>
                    <a:pt x="71" y="131"/>
                  </a:cubicBezTo>
                  <a:cubicBezTo>
                    <a:pt x="74" y="131"/>
                    <a:pt x="74" y="131"/>
                    <a:pt x="74" y="1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529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6" name="Freeform 6"/>
            <p:cNvSpPr>
              <a:spLocks noEditPoints="1"/>
            </p:cNvSpPr>
            <p:nvPr/>
          </p:nvSpPr>
          <p:spPr bwMode="auto">
            <a:xfrm>
              <a:off x="2103438" y="-793750"/>
              <a:ext cx="547687" cy="547687"/>
            </a:xfrm>
            <a:custGeom>
              <a:avLst/>
              <a:gdLst>
                <a:gd name="T0" fmla="*/ 33 w 146"/>
                <a:gd name="T1" fmla="*/ 134 h 146"/>
                <a:gd name="T2" fmla="*/ 12 w 146"/>
                <a:gd name="T3" fmla="*/ 113 h 146"/>
                <a:gd name="T4" fmla="*/ 0 w 146"/>
                <a:gd name="T5" fmla="*/ 73 h 146"/>
                <a:gd name="T6" fmla="*/ 73 w 146"/>
                <a:gd name="T7" fmla="*/ 0 h 146"/>
                <a:gd name="T8" fmla="*/ 146 w 146"/>
                <a:gd name="T9" fmla="*/ 73 h 146"/>
                <a:gd name="T10" fmla="*/ 130 w 146"/>
                <a:gd name="T11" fmla="*/ 119 h 146"/>
                <a:gd name="T12" fmla="*/ 113 w 146"/>
                <a:gd name="T13" fmla="*/ 134 h 146"/>
                <a:gd name="T14" fmla="*/ 113 w 146"/>
                <a:gd name="T15" fmla="*/ 91 h 146"/>
                <a:gd name="T16" fmla="*/ 121 w 146"/>
                <a:gd name="T17" fmla="*/ 91 h 146"/>
                <a:gd name="T18" fmla="*/ 121 w 146"/>
                <a:gd name="T19" fmla="*/ 121 h 146"/>
                <a:gd name="T20" fmla="*/ 131 w 146"/>
                <a:gd name="T21" fmla="*/ 106 h 146"/>
                <a:gd name="T22" fmla="*/ 139 w 146"/>
                <a:gd name="T23" fmla="*/ 73 h 146"/>
                <a:gd name="T24" fmla="*/ 73 w 146"/>
                <a:gd name="T25" fmla="*/ 6 h 146"/>
                <a:gd name="T26" fmla="*/ 7 w 146"/>
                <a:gd name="T27" fmla="*/ 74 h 146"/>
                <a:gd name="T28" fmla="*/ 26 w 146"/>
                <a:gd name="T29" fmla="*/ 121 h 146"/>
                <a:gd name="T30" fmla="*/ 26 w 146"/>
                <a:gd name="T31" fmla="*/ 91 h 146"/>
                <a:gd name="T32" fmla="*/ 33 w 146"/>
                <a:gd name="T33" fmla="*/ 91 h 146"/>
                <a:gd name="T34" fmla="*/ 33 w 146"/>
                <a:gd name="T35" fmla="*/ 134 h 146"/>
                <a:gd name="T36" fmla="*/ 48 w 146"/>
                <a:gd name="T37" fmla="*/ 142 h 146"/>
                <a:gd name="T38" fmla="*/ 40 w 146"/>
                <a:gd name="T39" fmla="*/ 138 h 146"/>
                <a:gd name="T40" fmla="*/ 40 w 146"/>
                <a:gd name="T41" fmla="*/ 91 h 146"/>
                <a:gd name="T42" fmla="*/ 48 w 146"/>
                <a:gd name="T43" fmla="*/ 91 h 146"/>
                <a:gd name="T44" fmla="*/ 48 w 146"/>
                <a:gd name="T45" fmla="*/ 142 h 146"/>
                <a:gd name="T46" fmla="*/ 62 w 146"/>
                <a:gd name="T47" fmla="*/ 145 h 146"/>
                <a:gd name="T48" fmla="*/ 58 w 146"/>
                <a:gd name="T49" fmla="*/ 145 h 146"/>
                <a:gd name="T50" fmla="*/ 55 w 146"/>
                <a:gd name="T51" fmla="*/ 144 h 146"/>
                <a:gd name="T52" fmla="*/ 55 w 146"/>
                <a:gd name="T53" fmla="*/ 44 h 146"/>
                <a:gd name="T54" fmla="*/ 62 w 146"/>
                <a:gd name="T55" fmla="*/ 44 h 146"/>
                <a:gd name="T56" fmla="*/ 62 w 146"/>
                <a:gd name="T57" fmla="*/ 145 h 146"/>
                <a:gd name="T58" fmla="*/ 77 w 146"/>
                <a:gd name="T59" fmla="*/ 146 h 146"/>
                <a:gd name="T60" fmla="*/ 74 w 146"/>
                <a:gd name="T61" fmla="*/ 146 h 146"/>
                <a:gd name="T62" fmla="*/ 70 w 146"/>
                <a:gd name="T63" fmla="*/ 146 h 146"/>
                <a:gd name="T64" fmla="*/ 70 w 146"/>
                <a:gd name="T65" fmla="*/ 44 h 146"/>
                <a:gd name="T66" fmla="*/ 77 w 146"/>
                <a:gd name="T67" fmla="*/ 44 h 146"/>
                <a:gd name="T68" fmla="*/ 77 w 146"/>
                <a:gd name="T69" fmla="*/ 146 h 146"/>
                <a:gd name="T70" fmla="*/ 91 w 146"/>
                <a:gd name="T71" fmla="*/ 144 h 146"/>
                <a:gd name="T72" fmla="*/ 84 w 146"/>
                <a:gd name="T73" fmla="*/ 146 h 146"/>
                <a:gd name="T74" fmla="*/ 84 w 146"/>
                <a:gd name="T75" fmla="*/ 44 h 146"/>
                <a:gd name="T76" fmla="*/ 91 w 146"/>
                <a:gd name="T77" fmla="*/ 44 h 146"/>
                <a:gd name="T78" fmla="*/ 91 w 146"/>
                <a:gd name="T79" fmla="*/ 144 h 146"/>
                <a:gd name="T80" fmla="*/ 91 w 146"/>
                <a:gd name="T81" fmla="*/ 39 h 146"/>
                <a:gd name="T82" fmla="*/ 73 w 146"/>
                <a:gd name="T83" fmla="*/ 24 h 146"/>
                <a:gd name="T84" fmla="*/ 55 w 146"/>
                <a:gd name="T85" fmla="*/ 39 h 146"/>
                <a:gd name="T86" fmla="*/ 51 w 146"/>
                <a:gd name="T87" fmla="*/ 33 h 146"/>
                <a:gd name="T88" fmla="*/ 73 w 146"/>
                <a:gd name="T89" fmla="*/ 16 h 146"/>
                <a:gd name="T90" fmla="*/ 95 w 146"/>
                <a:gd name="T91" fmla="*/ 33 h 146"/>
                <a:gd name="T92" fmla="*/ 91 w 146"/>
                <a:gd name="T93" fmla="*/ 39 h 146"/>
                <a:gd name="T94" fmla="*/ 106 w 146"/>
                <a:gd name="T95" fmla="*/ 138 h 146"/>
                <a:gd name="T96" fmla="*/ 99 w 146"/>
                <a:gd name="T97" fmla="*/ 142 h 146"/>
                <a:gd name="T98" fmla="*/ 99 w 146"/>
                <a:gd name="T99" fmla="*/ 91 h 146"/>
                <a:gd name="T100" fmla="*/ 106 w 146"/>
                <a:gd name="T101" fmla="*/ 91 h 146"/>
                <a:gd name="T102" fmla="*/ 106 w 146"/>
                <a:gd name="T103" fmla="*/ 13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6" h="146">
                  <a:moveTo>
                    <a:pt x="33" y="134"/>
                  </a:moveTo>
                  <a:cubicBezTo>
                    <a:pt x="23" y="127"/>
                    <a:pt x="17" y="121"/>
                    <a:pt x="12" y="113"/>
                  </a:cubicBezTo>
                  <a:cubicBezTo>
                    <a:pt x="4" y="101"/>
                    <a:pt x="0" y="87"/>
                    <a:pt x="0" y="73"/>
                  </a:cubicBez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6" y="33"/>
                    <a:pt x="146" y="73"/>
                  </a:cubicBezTo>
                  <a:cubicBezTo>
                    <a:pt x="146" y="90"/>
                    <a:pt x="140" y="106"/>
                    <a:pt x="130" y="119"/>
                  </a:cubicBezTo>
                  <a:cubicBezTo>
                    <a:pt x="126" y="124"/>
                    <a:pt x="123" y="127"/>
                    <a:pt x="113" y="134"/>
                  </a:cubicBezTo>
                  <a:cubicBezTo>
                    <a:pt x="113" y="91"/>
                    <a:pt x="113" y="91"/>
                    <a:pt x="113" y="91"/>
                  </a:cubicBezTo>
                  <a:cubicBezTo>
                    <a:pt x="121" y="91"/>
                    <a:pt x="121" y="91"/>
                    <a:pt x="121" y="9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6" y="114"/>
                    <a:pt x="128" y="110"/>
                    <a:pt x="131" y="106"/>
                  </a:cubicBezTo>
                  <a:cubicBezTo>
                    <a:pt x="136" y="96"/>
                    <a:pt x="139" y="85"/>
                    <a:pt x="139" y="73"/>
                  </a:cubicBezTo>
                  <a:cubicBezTo>
                    <a:pt x="139" y="36"/>
                    <a:pt x="110" y="6"/>
                    <a:pt x="73" y="6"/>
                  </a:cubicBezTo>
                  <a:cubicBezTo>
                    <a:pt x="36" y="6"/>
                    <a:pt x="7" y="36"/>
                    <a:pt x="7" y="74"/>
                  </a:cubicBezTo>
                  <a:cubicBezTo>
                    <a:pt x="7" y="91"/>
                    <a:pt x="13" y="106"/>
                    <a:pt x="26" y="121"/>
                  </a:cubicBezTo>
                  <a:cubicBezTo>
                    <a:pt x="26" y="91"/>
                    <a:pt x="26" y="91"/>
                    <a:pt x="26" y="91"/>
                  </a:cubicBezTo>
                  <a:cubicBezTo>
                    <a:pt x="33" y="91"/>
                    <a:pt x="33" y="91"/>
                    <a:pt x="33" y="91"/>
                  </a:cubicBezTo>
                  <a:cubicBezTo>
                    <a:pt x="33" y="134"/>
                    <a:pt x="33" y="134"/>
                    <a:pt x="33" y="134"/>
                  </a:cubicBezTo>
                  <a:close/>
                  <a:moveTo>
                    <a:pt x="48" y="142"/>
                  </a:moveTo>
                  <a:cubicBezTo>
                    <a:pt x="46" y="141"/>
                    <a:pt x="43" y="140"/>
                    <a:pt x="40" y="138"/>
                  </a:cubicBezTo>
                  <a:cubicBezTo>
                    <a:pt x="40" y="91"/>
                    <a:pt x="40" y="91"/>
                    <a:pt x="40" y="91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48" y="142"/>
                    <a:pt x="48" y="142"/>
                    <a:pt x="48" y="142"/>
                  </a:cubicBezTo>
                  <a:close/>
                  <a:moveTo>
                    <a:pt x="62" y="145"/>
                  </a:moveTo>
                  <a:cubicBezTo>
                    <a:pt x="60" y="145"/>
                    <a:pt x="59" y="145"/>
                    <a:pt x="58" y="145"/>
                  </a:cubicBezTo>
                  <a:cubicBezTo>
                    <a:pt x="58" y="144"/>
                    <a:pt x="57" y="144"/>
                    <a:pt x="55" y="1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145"/>
                    <a:pt x="62" y="145"/>
                    <a:pt x="62" y="145"/>
                  </a:cubicBezTo>
                  <a:close/>
                  <a:moveTo>
                    <a:pt x="77" y="146"/>
                  </a:moveTo>
                  <a:cubicBezTo>
                    <a:pt x="76" y="146"/>
                    <a:pt x="75" y="146"/>
                    <a:pt x="74" y="146"/>
                  </a:cubicBezTo>
                  <a:cubicBezTo>
                    <a:pt x="72" y="146"/>
                    <a:pt x="71" y="146"/>
                    <a:pt x="70" y="146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146"/>
                    <a:pt x="77" y="146"/>
                    <a:pt x="77" y="146"/>
                  </a:cubicBezTo>
                  <a:close/>
                  <a:moveTo>
                    <a:pt x="91" y="144"/>
                  </a:moveTo>
                  <a:cubicBezTo>
                    <a:pt x="89" y="144"/>
                    <a:pt x="87" y="145"/>
                    <a:pt x="84" y="146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91" y="144"/>
                    <a:pt x="91" y="144"/>
                    <a:pt x="91" y="144"/>
                  </a:cubicBezTo>
                  <a:close/>
                  <a:moveTo>
                    <a:pt x="91" y="39"/>
                  </a:moveTo>
                  <a:cubicBezTo>
                    <a:pt x="73" y="24"/>
                    <a:pt x="73" y="24"/>
                    <a:pt x="73" y="24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1" y="39"/>
                    <a:pt x="91" y="39"/>
                    <a:pt x="91" y="39"/>
                  </a:cubicBezTo>
                  <a:close/>
                  <a:moveTo>
                    <a:pt x="106" y="138"/>
                  </a:moveTo>
                  <a:cubicBezTo>
                    <a:pt x="104" y="139"/>
                    <a:pt x="102" y="140"/>
                    <a:pt x="99" y="142"/>
                  </a:cubicBezTo>
                  <a:cubicBezTo>
                    <a:pt x="99" y="91"/>
                    <a:pt x="99" y="91"/>
                    <a:pt x="99" y="91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6" y="138"/>
                    <a:pt x="106" y="138"/>
                    <a:pt x="106" y="1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529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3124200" y="-779463"/>
              <a:ext cx="449262" cy="509587"/>
            </a:xfrm>
            <a:custGeom>
              <a:avLst/>
              <a:gdLst>
                <a:gd name="T0" fmla="*/ 14 w 120"/>
                <a:gd name="T1" fmla="*/ 100 h 136"/>
                <a:gd name="T2" fmla="*/ 7 w 120"/>
                <a:gd name="T3" fmla="*/ 112 h 136"/>
                <a:gd name="T4" fmla="*/ 48 w 120"/>
                <a:gd name="T5" fmla="*/ 53 h 136"/>
                <a:gd name="T6" fmla="*/ 44 w 120"/>
                <a:gd name="T7" fmla="*/ 29 h 136"/>
                <a:gd name="T8" fmla="*/ 25 w 120"/>
                <a:gd name="T9" fmla="*/ 23 h 136"/>
                <a:gd name="T10" fmla="*/ 23 w 120"/>
                <a:gd name="T11" fmla="*/ 0 h 136"/>
                <a:gd name="T12" fmla="*/ 13 w 120"/>
                <a:gd name="T13" fmla="*/ 5 h 136"/>
                <a:gd name="T14" fmla="*/ 18 w 120"/>
                <a:gd name="T15" fmla="*/ 52 h 136"/>
                <a:gd name="T16" fmla="*/ 13 w 120"/>
                <a:gd name="T17" fmla="*/ 56 h 136"/>
                <a:gd name="T18" fmla="*/ 29 w 120"/>
                <a:gd name="T19" fmla="*/ 53 h 136"/>
                <a:gd name="T20" fmla="*/ 25 w 120"/>
                <a:gd name="T21" fmla="*/ 28 h 136"/>
                <a:gd name="T22" fmla="*/ 36 w 120"/>
                <a:gd name="T23" fmla="*/ 32 h 136"/>
                <a:gd name="T24" fmla="*/ 33 w 120"/>
                <a:gd name="T25" fmla="*/ 53 h 136"/>
                <a:gd name="T26" fmla="*/ 48 w 120"/>
                <a:gd name="T27" fmla="*/ 56 h 136"/>
                <a:gd name="T28" fmla="*/ 62 w 120"/>
                <a:gd name="T29" fmla="*/ 18 h 136"/>
                <a:gd name="T30" fmla="*/ 53 w 120"/>
                <a:gd name="T31" fmla="*/ 23 h 136"/>
                <a:gd name="T32" fmla="*/ 58 w 120"/>
                <a:gd name="T33" fmla="*/ 52 h 136"/>
                <a:gd name="T34" fmla="*/ 53 w 120"/>
                <a:gd name="T35" fmla="*/ 56 h 136"/>
                <a:gd name="T36" fmla="*/ 70 w 120"/>
                <a:gd name="T37" fmla="*/ 53 h 136"/>
                <a:gd name="T38" fmla="*/ 65 w 120"/>
                <a:gd name="T39" fmla="*/ 32 h 136"/>
                <a:gd name="T40" fmla="*/ 74 w 120"/>
                <a:gd name="T41" fmla="*/ 28 h 136"/>
                <a:gd name="T42" fmla="*/ 72 w 120"/>
                <a:gd name="T43" fmla="*/ 19 h 136"/>
                <a:gd name="T44" fmla="*/ 65 w 120"/>
                <a:gd name="T45" fmla="*/ 18 h 136"/>
                <a:gd name="T46" fmla="*/ 83 w 120"/>
                <a:gd name="T47" fmla="*/ 5 h 136"/>
                <a:gd name="T48" fmla="*/ 92 w 120"/>
                <a:gd name="T49" fmla="*/ 5 h 136"/>
                <a:gd name="T50" fmla="*/ 96 w 120"/>
                <a:gd name="T51" fmla="*/ 56 h 136"/>
                <a:gd name="T52" fmla="*/ 92 w 120"/>
                <a:gd name="T53" fmla="*/ 52 h 136"/>
                <a:gd name="T54" fmla="*/ 90 w 120"/>
                <a:gd name="T55" fmla="*/ 19 h 136"/>
                <a:gd name="T56" fmla="*/ 80 w 120"/>
                <a:gd name="T57" fmla="*/ 24 h 136"/>
                <a:gd name="T58" fmla="*/ 84 w 120"/>
                <a:gd name="T59" fmla="*/ 52 h 136"/>
                <a:gd name="T60" fmla="*/ 80 w 120"/>
                <a:gd name="T61" fmla="*/ 56 h 136"/>
                <a:gd name="T62" fmla="*/ 27 w 120"/>
                <a:gd name="T63" fmla="*/ 115 h 136"/>
                <a:gd name="T64" fmla="*/ 14 w 120"/>
                <a:gd name="T65" fmla="*/ 97 h 136"/>
                <a:gd name="T66" fmla="*/ 14 w 120"/>
                <a:gd name="T67" fmla="*/ 136 h 136"/>
                <a:gd name="T68" fmla="*/ 23 w 120"/>
                <a:gd name="T69" fmla="*/ 125 h 136"/>
                <a:gd name="T70" fmla="*/ 7 w 120"/>
                <a:gd name="T71" fmla="*/ 115 h 136"/>
                <a:gd name="T72" fmla="*/ 47 w 120"/>
                <a:gd name="T73" fmla="*/ 135 h 136"/>
                <a:gd name="T74" fmla="*/ 43 w 120"/>
                <a:gd name="T75" fmla="*/ 131 h 136"/>
                <a:gd name="T76" fmla="*/ 41 w 120"/>
                <a:gd name="T77" fmla="*/ 78 h 136"/>
                <a:gd name="T78" fmla="*/ 31 w 120"/>
                <a:gd name="T79" fmla="*/ 83 h 136"/>
                <a:gd name="T80" fmla="*/ 36 w 120"/>
                <a:gd name="T81" fmla="*/ 131 h 136"/>
                <a:gd name="T82" fmla="*/ 31 w 120"/>
                <a:gd name="T83" fmla="*/ 135 h 136"/>
                <a:gd name="T84" fmla="*/ 87 w 120"/>
                <a:gd name="T85" fmla="*/ 135 h 136"/>
                <a:gd name="T86" fmla="*/ 83 w 120"/>
                <a:gd name="T87" fmla="*/ 131 h 136"/>
                <a:gd name="T88" fmla="*/ 74 w 120"/>
                <a:gd name="T89" fmla="*/ 97 h 136"/>
                <a:gd name="T90" fmla="*/ 64 w 120"/>
                <a:gd name="T91" fmla="*/ 78 h 136"/>
                <a:gd name="T92" fmla="*/ 53 w 120"/>
                <a:gd name="T93" fmla="*/ 81 h 136"/>
                <a:gd name="T94" fmla="*/ 57 w 120"/>
                <a:gd name="T95" fmla="*/ 84 h 136"/>
                <a:gd name="T96" fmla="*/ 52 w 120"/>
                <a:gd name="T97" fmla="*/ 132 h 136"/>
                <a:gd name="T98" fmla="*/ 68 w 120"/>
                <a:gd name="T99" fmla="*/ 135 h 136"/>
                <a:gd name="T100" fmla="*/ 64 w 120"/>
                <a:gd name="T101" fmla="*/ 131 h 136"/>
                <a:gd name="T102" fmla="*/ 71 w 120"/>
                <a:gd name="T103" fmla="*/ 103 h 136"/>
                <a:gd name="T104" fmla="*/ 76 w 120"/>
                <a:gd name="T105" fmla="*/ 131 h 136"/>
                <a:gd name="T106" fmla="*/ 72 w 120"/>
                <a:gd name="T107" fmla="*/ 135 h 136"/>
                <a:gd name="T108" fmla="*/ 120 w 120"/>
                <a:gd name="T109" fmla="*/ 115 h 136"/>
                <a:gd name="T110" fmla="*/ 107 w 120"/>
                <a:gd name="T111" fmla="*/ 97 h 136"/>
                <a:gd name="T112" fmla="*/ 107 w 120"/>
                <a:gd name="T113" fmla="*/ 136 h 136"/>
                <a:gd name="T114" fmla="*/ 116 w 120"/>
                <a:gd name="T115" fmla="*/ 125 h 136"/>
                <a:gd name="T116" fmla="*/ 100 w 120"/>
                <a:gd name="T117" fmla="*/ 115 h 136"/>
                <a:gd name="T118" fmla="*/ 100 w 120"/>
                <a:gd name="T119" fmla="*/ 112 h 136"/>
                <a:gd name="T120" fmla="*/ 112 w 120"/>
                <a:gd name="T121" fmla="*/ 11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" h="136">
                  <a:moveTo>
                    <a:pt x="7" y="112"/>
                  </a:moveTo>
                  <a:cubicBezTo>
                    <a:pt x="8" y="104"/>
                    <a:pt x="10" y="100"/>
                    <a:pt x="14" y="100"/>
                  </a:cubicBezTo>
                  <a:cubicBezTo>
                    <a:pt x="17" y="100"/>
                    <a:pt x="19" y="104"/>
                    <a:pt x="19" y="112"/>
                  </a:cubicBezTo>
                  <a:cubicBezTo>
                    <a:pt x="7" y="112"/>
                    <a:pt x="7" y="112"/>
                    <a:pt x="7" y="112"/>
                  </a:cubicBezTo>
                  <a:close/>
                  <a:moveTo>
                    <a:pt x="48" y="56"/>
                  </a:moveTo>
                  <a:cubicBezTo>
                    <a:pt x="48" y="53"/>
                    <a:pt x="48" y="53"/>
                    <a:pt x="48" y="53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2"/>
                    <a:pt x="41" y="19"/>
                    <a:pt x="35" y="19"/>
                  </a:cubicBezTo>
                  <a:cubicBezTo>
                    <a:pt x="32" y="19"/>
                    <a:pt x="29" y="20"/>
                    <a:pt x="25" y="2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8" y="25"/>
                    <a:pt x="30" y="24"/>
                    <a:pt x="32" y="24"/>
                  </a:cubicBezTo>
                  <a:cubicBezTo>
                    <a:pt x="35" y="24"/>
                    <a:pt x="36" y="26"/>
                    <a:pt x="36" y="32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48" y="56"/>
                    <a:pt x="48" y="56"/>
                    <a:pt x="48" y="56"/>
                  </a:cubicBezTo>
                  <a:close/>
                  <a:moveTo>
                    <a:pt x="65" y="18"/>
                  </a:moveTo>
                  <a:cubicBezTo>
                    <a:pt x="62" y="18"/>
                    <a:pt x="62" y="18"/>
                    <a:pt x="62" y="18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5" y="30"/>
                    <a:pt x="67" y="27"/>
                    <a:pt x="70" y="26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6" y="26"/>
                    <a:pt x="76" y="25"/>
                    <a:pt x="76" y="23"/>
                  </a:cubicBezTo>
                  <a:cubicBezTo>
                    <a:pt x="76" y="21"/>
                    <a:pt x="75" y="19"/>
                    <a:pt x="72" y="19"/>
                  </a:cubicBezTo>
                  <a:cubicBezTo>
                    <a:pt x="69" y="19"/>
                    <a:pt x="68" y="20"/>
                    <a:pt x="65" y="26"/>
                  </a:cubicBezTo>
                  <a:cubicBezTo>
                    <a:pt x="65" y="18"/>
                    <a:pt x="65" y="18"/>
                    <a:pt x="65" y="18"/>
                  </a:cubicBezTo>
                  <a:close/>
                  <a:moveTo>
                    <a:pt x="88" y="0"/>
                  </a:moveTo>
                  <a:cubicBezTo>
                    <a:pt x="85" y="0"/>
                    <a:pt x="83" y="2"/>
                    <a:pt x="83" y="5"/>
                  </a:cubicBezTo>
                  <a:cubicBezTo>
                    <a:pt x="83" y="8"/>
                    <a:pt x="85" y="10"/>
                    <a:pt x="88" y="10"/>
                  </a:cubicBezTo>
                  <a:cubicBezTo>
                    <a:pt x="90" y="10"/>
                    <a:pt x="92" y="8"/>
                    <a:pt x="92" y="5"/>
                  </a:cubicBezTo>
                  <a:cubicBezTo>
                    <a:pt x="92" y="2"/>
                    <a:pt x="90" y="0"/>
                    <a:pt x="88" y="0"/>
                  </a:cubicBezTo>
                  <a:close/>
                  <a:moveTo>
                    <a:pt x="96" y="56"/>
                  </a:moveTo>
                  <a:cubicBezTo>
                    <a:pt x="96" y="53"/>
                    <a:pt x="96" y="53"/>
                    <a:pt x="96" y="53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19"/>
                    <a:pt x="92" y="19"/>
                    <a:pt x="92" y="19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80" y="21"/>
                    <a:pt x="80" y="21"/>
                    <a:pt x="80" y="21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0" y="53"/>
                    <a:pt x="80" y="53"/>
                    <a:pt x="80" y="53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96" y="56"/>
                    <a:pt x="96" y="56"/>
                    <a:pt x="96" y="56"/>
                  </a:cubicBezTo>
                  <a:close/>
                  <a:moveTo>
                    <a:pt x="27" y="115"/>
                  </a:moveTo>
                  <a:cubicBezTo>
                    <a:pt x="27" y="110"/>
                    <a:pt x="26" y="108"/>
                    <a:pt x="26" y="106"/>
                  </a:cubicBezTo>
                  <a:cubicBezTo>
                    <a:pt x="24" y="100"/>
                    <a:pt x="20" y="97"/>
                    <a:pt x="14" y="97"/>
                  </a:cubicBezTo>
                  <a:cubicBezTo>
                    <a:pt x="5" y="97"/>
                    <a:pt x="0" y="104"/>
                    <a:pt x="0" y="117"/>
                  </a:cubicBezTo>
                  <a:cubicBezTo>
                    <a:pt x="0" y="129"/>
                    <a:pt x="5" y="136"/>
                    <a:pt x="14" y="136"/>
                  </a:cubicBezTo>
                  <a:cubicBezTo>
                    <a:pt x="20" y="136"/>
                    <a:pt x="23" y="133"/>
                    <a:pt x="27" y="127"/>
                  </a:cubicBezTo>
                  <a:cubicBezTo>
                    <a:pt x="23" y="125"/>
                    <a:pt x="23" y="125"/>
                    <a:pt x="23" y="125"/>
                  </a:cubicBezTo>
                  <a:cubicBezTo>
                    <a:pt x="21" y="129"/>
                    <a:pt x="19" y="130"/>
                    <a:pt x="16" y="130"/>
                  </a:cubicBezTo>
                  <a:cubicBezTo>
                    <a:pt x="11" y="130"/>
                    <a:pt x="8" y="126"/>
                    <a:pt x="7" y="115"/>
                  </a:cubicBezTo>
                  <a:cubicBezTo>
                    <a:pt x="27" y="115"/>
                    <a:pt x="27" y="115"/>
                    <a:pt x="27" y="115"/>
                  </a:cubicBezTo>
                  <a:close/>
                  <a:moveTo>
                    <a:pt x="47" y="135"/>
                  </a:moveTo>
                  <a:cubicBezTo>
                    <a:pt x="47" y="132"/>
                    <a:pt x="47" y="132"/>
                    <a:pt x="47" y="132"/>
                  </a:cubicBezTo>
                  <a:cubicBezTo>
                    <a:pt x="43" y="131"/>
                    <a:pt x="43" y="131"/>
                    <a:pt x="43" y="131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6" y="131"/>
                    <a:pt x="36" y="131"/>
                    <a:pt x="36" y="131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31" y="135"/>
                    <a:pt x="31" y="135"/>
                    <a:pt x="31" y="135"/>
                  </a:cubicBezTo>
                  <a:cubicBezTo>
                    <a:pt x="47" y="135"/>
                    <a:pt x="47" y="135"/>
                    <a:pt x="47" y="135"/>
                  </a:cubicBezTo>
                  <a:close/>
                  <a:moveTo>
                    <a:pt x="87" y="135"/>
                  </a:moveTo>
                  <a:cubicBezTo>
                    <a:pt x="87" y="132"/>
                    <a:pt x="87" y="132"/>
                    <a:pt x="87" y="132"/>
                  </a:cubicBezTo>
                  <a:cubicBezTo>
                    <a:pt x="83" y="131"/>
                    <a:pt x="83" y="131"/>
                    <a:pt x="83" y="131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83" y="101"/>
                    <a:pt x="80" y="97"/>
                    <a:pt x="74" y="97"/>
                  </a:cubicBezTo>
                  <a:cubicBezTo>
                    <a:pt x="71" y="97"/>
                    <a:pt x="68" y="98"/>
                    <a:pt x="64" y="102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131"/>
                    <a:pt x="57" y="131"/>
                    <a:pt x="57" y="131"/>
                  </a:cubicBezTo>
                  <a:cubicBezTo>
                    <a:pt x="52" y="132"/>
                    <a:pt x="52" y="132"/>
                    <a:pt x="52" y="132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8" y="132"/>
                    <a:pt x="68" y="132"/>
                    <a:pt x="68" y="132"/>
                  </a:cubicBezTo>
                  <a:cubicBezTo>
                    <a:pt x="64" y="131"/>
                    <a:pt x="64" y="131"/>
                    <a:pt x="64" y="131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7" y="104"/>
                    <a:pt x="69" y="103"/>
                    <a:pt x="71" y="103"/>
                  </a:cubicBezTo>
                  <a:cubicBezTo>
                    <a:pt x="74" y="103"/>
                    <a:pt x="76" y="105"/>
                    <a:pt x="76" y="110"/>
                  </a:cubicBezTo>
                  <a:cubicBezTo>
                    <a:pt x="76" y="131"/>
                    <a:pt x="76" y="131"/>
                    <a:pt x="76" y="131"/>
                  </a:cubicBezTo>
                  <a:cubicBezTo>
                    <a:pt x="72" y="132"/>
                    <a:pt x="72" y="132"/>
                    <a:pt x="72" y="132"/>
                  </a:cubicBezTo>
                  <a:cubicBezTo>
                    <a:pt x="72" y="135"/>
                    <a:pt x="72" y="135"/>
                    <a:pt x="72" y="135"/>
                  </a:cubicBezTo>
                  <a:cubicBezTo>
                    <a:pt x="87" y="135"/>
                    <a:pt x="87" y="135"/>
                    <a:pt x="87" y="135"/>
                  </a:cubicBezTo>
                  <a:close/>
                  <a:moveTo>
                    <a:pt x="120" y="115"/>
                  </a:moveTo>
                  <a:cubicBezTo>
                    <a:pt x="119" y="110"/>
                    <a:pt x="119" y="108"/>
                    <a:pt x="119" y="106"/>
                  </a:cubicBezTo>
                  <a:cubicBezTo>
                    <a:pt x="117" y="100"/>
                    <a:pt x="113" y="97"/>
                    <a:pt x="107" y="97"/>
                  </a:cubicBezTo>
                  <a:cubicBezTo>
                    <a:pt x="98" y="97"/>
                    <a:pt x="92" y="104"/>
                    <a:pt x="92" y="117"/>
                  </a:cubicBezTo>
                  <a:cubicBezTo>
                    <a:pt x="92" y="129"/>
                    <a:pt x="98" y="136"/>
                    <a:pt x="107" y="136"/>
                  </a:cubicBezTo>
                  <a:cubicBezTo>
                    <a:pt x="113" y="136"/>
                    <a:pt x="116" y="133"/>
                    <a:pt x="120" y="127"/>
                  </a:cubicBezTo>
                  <a:cubicBezTo>
                    <a:pt x="116" y="125"/>
                    <a:pt x="116" y="125"/>
                    <a:pt x="116" y="125"/>
                  </a:cubicBezTo>
                  <a:cubicBezTo>
                    <a:pt x="114" y="129"/>
                    <a:pt x="112" y="130"/>
                    <a:pt x="109" y="130"/>
                  </a:cubicBezTo>
                  <a:cubicBezTo>
                    <a:pt x="103" y="130"/>
                    <a:pt x="101" y="126"/>
                    <a:pt x="100" y="115"/>
                  </a:cubicBezTo>
                  <a:cubicBezTo>
                    <a:pt x="120" y="115"/>
                    <a:pt x="120" y="115"/>
                    <a:pt x="120" y="115"/>
                  </a:cubicBezTo>
                  <a:close/>
                  <a:moveTo>
                    <a:pt x="100" y="112"/>
                  </a:moveTo>
                  <a:cubicBezTo>
                    <a:pt x="101" y="104"/>
                    <a:pt x="103" y="100"/>
                    <a:pt x="106" y="100"/>
                  </a:cubicBezTo>
                  <a:cubicBezTo>
                    <a:pt x="110" y="100"/>
                    <a:pt x="112" y="104"/>
                    <a:pt x="112" y="112"/>
                  </a:cubicBezTo>
                  <a:cubicBezTo>
                    <a:pt x="100" y="112"/>
                    <a:pt x="100" y="112"/>
                    <a:pt x="100" y="1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529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3506788" y="-711200"/>
              <a:ext cx="490537" cy="438150"/>
            </a:xfrm>
            <a:custGeom>
              <a:avLst/>
              <a:gdLst>
                <a:gd name="T0" fmla="*/ 53 w 131"/>
                <a:gd name="T1" fmla="*/ 22 h 117"/>
                <a:gd name="T2" fmla="*/ 34 w 131"/>
                <a:gd name="T3" fmla="*/ 38 h 117"/>
                <a:gd name="T4" fmla="*/ 30 w 131"/>
                <a:gd name="T5" fmla="*/ 10 h 117"/>
                <a:gd name="T6" fmla="*/ 11 w 131"/>
                <a:gd name="T7" fmla="*/ 0 h 117"/>
                <a:gd name="T8" fmla="*/ 0 w 131"/>
                <a:gd name="T9" fmla="*/ 6 h 117"/>
                <a:gd name="T10" fmla="*/ 0 w 131"/>
                <a:gd name="T11" fmla="*/ 35 h 117"/>
                <a:gd name="T12" fmla="*/ 15 w 131"/>
                <a:gd name="T13" fmla="*/ 35 h 117"/>
                <a:gd name="T14" fmla="*/ 19 w 131"/>
                <a:gd name="T15" fmla="*/ 6 h 117"/>
                <a:gd name="T16" fmla="*/ 19 w 131"/>
                <a:gd name="T17" fmla="*/ 35 h 117"/>
                <a:gd name="T18" fmla="*/ 70 w 131"/>
                <a:gd name="T19" fmla="*/ 6 h 117"/>
                <a:gd name="T20" fmla="*/ 63 w 131"/>
                <a:gd name="T21" fmla="*/ 1 h 117"/>
                <a:gd name="T22" fmla="*/ 53 w 131"/>
                <a:gd name="T23" fmla="*/ 0 h 117"/>
                <a:gd name="T24" fmla="*/ 39 w 131"/>
                <a:gd name="T25" fmla="*/ 31 h 117"/>
                <a:gd name="T26" fmla="*/ 51 w 131"/>
                <a:gd name="T27" fmla="*/ 52 h 117"/>
                <a:gd name="T28" fmla="*/ 50 w 131"/>
                <a:gd name="T29" fmla="*/ 30 h 117"/>
                <a:gd name="T30" fmla="*/ 54 w 131"/>
                <a:gd name="T31" fmla="*/ 25 h 117"/>
                <a:gd name="T32" fmla="*/ 70 w 131"/>
                <a:gd name="T33" fmla="*/ 6 h 117"/>
                <a:gd name="T34" fmla="*/ 53 w 131"/>
                <a:gd name="T35" fmla="*/ 48 h 117"/>
                <a:gd name="T36" fmla="*/ 102 w 131"/>
                <a:gd name="T37" fmla="*/ 19 h 117"/>
                <a:gd name="T38" fmla="*/ 89 w 131"/>
                <a:gd name="T39" fmla="*/ 39 h 117"/>
                <a:gd name="T40" fmla="*/ 91 w 131"/>
                <a:gd name="T41" fmla="*/ 34 h 117"/>
                <a:gd name="T42" fmla="*/ 82 w 131"/>
                <a:gd name="T43" fmla="*/ 15 h 117"/>
                <a:gd name="T44" fmla="*/ 82 w 131"/>
                <a:gd name="T45" fmla="*/ 15 h 117"/>
                <a:gd name="T46" fmla="*/ 108 w 131"/>
                <a:gd name="T47" fmla="*/ 3 h 117"/>
                <a:gd name="T48" fmla="*/ 112 w 131"/>
                <a:gd name="T49" fmla="*/ 34 h 117"/>
                <a:gd name="T50" fmla="*/ 125 w 131"/>
                <a:gd name="T51" fmla="*/ 38 h 117"/>
                <a:gd name="T52" fmla="*/ 120 w 131"/>
                <a:gd name="T53" fmla="*/ 14 h 117"/>
                <a:gd name="T54" fmla="*/ 131 w 131"/>
                <a:gd name="T55" fmla="*/ 5 h 117"/>
                <a:gd name="T56" fmla="*/ 120 w 131"/>
                <a:gd name="T57" fmla="*/ 0 h 117"/>
                <a:gd name="T58" fmla="*/ 31 w 131"/>
                <a:gd name="T59" fmla="*/ 70 h 117"/>
                <a:gd name="T60" fmla="*/ 39 w 131"/>
                <a:gd name="T61" fmla="*/ 117 h 117"/>
                <a:gd name="T62" fmla="*/ 35 w 131"/>
                <a:gd name="T63" fmla="*/ 79 h 117"/>
                <a:gd name="T64" fmla="*/ 24 w 131"/>
                <a:gd name="T65" fmla="*/ 84 h 117"/>
                <a:gd name="T66" fmla="*/ 24 w 131"/>
                <a:gd name="T67" fmla="*/ 114 h 117"/>
                <a:gd name="T68" fmla="*/ 100 w 131"/>
                <a:gd name="T69" fmla="*/ 114 h 117"/>
                <a:gd name="T70" fmla="*/ 86 w 131"/>
                <a:gd name="T71" fmla="*/ 79 h 117"/>
                <a:gd name="T72" fmla="*/ 56 w 131"/>
                <a:gd name="T73" fmla="*/ 84 h 117"/>
                <a:gd name="T74" fmla="*/ 45 w 131"/>
                <a:gd name="T75" fmla="*/ 81 h 117"/>
                <a:gd name="T76" fmla="*/ 49 w 131"/>
                <a:gd name="T77" fmla="*/ 113 h 117"/>
                <a:gd name="T78" fmla="*/ 60 w 131"/>
                <a:gd name="T79" fmla="*/ 117 h 117"/>
                <a:gd name="T80" fmla="*/ 57 w 131"/>
                <a:gd name="T81" fmla="*/ 88 h 117"/>
                <a:gd name="T82" fmla="*/ 69 w 131"/>
                <a:gd name="T83" fmla="*/ 113 h 117"/>
                <a:gd name="T84" fmla="*/ 80 w 131"/>
                <a:gd name="T85" fmla="*/ 117 h 117"/>
                <a:gd name="T86" fmla="*/ 76 w 131"/>
                <a:gd name="T87" fmla="*/ 88 h 117"/>
                <a:gd name="T88" fmla="*/ 88 w 131"/>
                <a:gd name="T89" fmla="*/ 113 h 117"/>
                <a:gd name="T90" fmla="*/ 100 w 131"/>
                <a:gd name="T91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1" h="117">
                  <a:moveTo>
                    <a:pt x="53" y="3"/>
                  </a:moveTo>
                  <a:cubicBezTo>
                    <a:pt x="57" y="3"/>
                    <a:pt x="59" y="6"/>
                    <a:pt x="59" y="13"/>
                  </a:cubicBezTo>
                  <a:cubicBezTo>
                    <a:pt x="59" y="19"/>
                    <a:pt x="57" y="22"/>
                    <a:pt x="53" y="22"/>
                  </a:cubicBezTo>
                  <a:cubicBezTo>
                    <a:pt x="50" y="22"/>
                    <a:pt x="48" y="19"/>
                    <a:pt x="48" y="12"/>
                  </a:cubicBezTo>
                  <a:cubicBezTo>
                    <a:pt x="48" y="6"/>
                    <a:pt x="50" y="3"/>
                    <a:pt x="53" y="3"/>
                  </a:cubicBezTo>
                  <a:close/>
                  <a:moveTo>
                    <a:pt x="34" y="38"/>
                  </a:moveTo>
                  <a:cubicBezTo>
                    <a:pt x="34" y="35"/>
                    <a:pt x="34" y="35"/>
                    <a:pt x="34" y="35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4"/>
                    <a:pt x="27" y="0"/>
                    <a:pt x="21" y="0"/>
                  </a:cubicBezTo>
                  <a:cubicBezTo>
                    <a:pt x="18" y="0"/>
                    <a:pt x="16" y="1"/>
                    <a:pt x="11" y="5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4" y="7"/>
                    <a:pt x="16" y="6"/>
                    <a:pt x="19" y="6"/>
                  </a:cubicBezTo>
                  <a:cubicBezTo>
                    <a:pt x="22" y="6"/>
                    <a:pt x="23" y="8"/>
                    <a:pt x="23" y="12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34" y="38"/>
                    <a:pt x="34" y="38"/>
                    <a:pt x="34" y="38"/>
                  </a:cubicBezTo>
                  <a:close/>
                  <a:moveTo>
                    <a:pt x="70" y="6"/>
                  </a:moveTo>
                  <a:cubicBezTo>
                    <a:pt x="70" y="1"/>
                    <a:pt x="70" y="1"/>
                    <a:pt x="70" y="1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2" y="1"/>
                    <a:pt x="61" y="1"/>
                    <a:pt x="61" y="1"/>
                  </a:cubicBezTo>
                  <a:cubicBezTo>
                    <a:pt x="60" y="1"/>
                    <a:pt x="59" y="1"/>
                    <a:pt x="58" y="1"/>
                  </a:cubicBezTo>
                  <a:cubicBezTo>
                    <a:pt x="55" y="0"/>
                    <a:pt x="54" y="0"/>
                    <a:pt x="53" y="0"/>
                  </a:cubicBezTo>
                  <a:cubicBezTo>
                    <a:pt x="46" y="0"/>
                    <a:pt x="40" y="6"/>
                    <a:pt x="40" y="13"/>
                  </a:cubicBezTo>
                  <a:cubicBezTo>
                    <a:pt x="40" y="18"/>
                    <a:pt x="42" y="20"/>
                    <a:pt x="46" y="23"/>
                  </a:cubicBezTo>
                  <a:cubicBezTo>
                    <a:pt x="41" y="26"/>
                    <a:pt x="39" y="29"/>
                    <a:pt x="39" y="31"/>
                  </a:cubicBezTo>
                  <a:cubicBezTo>
                    <a:pt x="39" y="34"/>
                    <a:pt x="41" y="35"/>
                    <a:pt x="44" y="36"/>
                  </a:cubicBezTo>
                  <a:cubicBezTo>
                    <a:pt x="39" y="39"/>
                    <a:pt x="38" y="41"/>
                    <a:pt x="38" y="44"/>
                  </a:cubicBezTo>
                  <a:cubicBezTo>
                    <a:pt x="38" y="49"/>
                    <a:pt x="43" y="52"/>
                    <a:pt x="51" y="52"/>
                  </a:cubicBezTo>
                  <a:cubicBezTo>
                    <a:pt x="63" y="52"/>
                    <a:pt x="70" y="47"/>
                    <a:pt x="70" y="39"/>
                  </a:cubicBezTo>
                  <a:cubicBezTo>
                    <a:pt x="70" y="33"/>
                    <a:pt x="66" y="30"/>
                    <a:pt x="59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48" y="29"/>
                    <a:pt x="47" y="29"/>
                    <a:pt x="47" y="28"/>
                  </a:cubicBezTo>
                  <a:cubicBezTo>
                    <a:pt x="47" y="27"/>
                    <a:pt x="48" y="26"/>
                    <a:pt x="50" y="25"/>
                  </a:cubicBezTo>
                  <a:cubicBezTo>
                    <a:pt x="51" y="25"/>
                    <a:pt x="52" y="25"/>
                    <a:pt x="54" y="25"/>
                  </a:cubicBezTo>
                  <a:cubicBezTo>
                    <a:pt x="61" y="25"/>
                    <a:pt x="67" y="20"/>
                    <a:pt x="67" y="13"/>
                  </a:cubicBezTo>
                  <a:cubicBezTo>
                    <a:pt x="67" y="10"/>
                    <a:pt x="66" y="8"/>
                    <a:pt x="64" y="6"/>
                  </a:cubicBezTo>
                  <a:cubicBezTo>
                    <a:pt x="70" y="6"/>
                    <a:pt x="70" y="6"/>
                    <a:pt x="70" y="6"/>
                  </a:cubicBezTo>
                  <a:close/>
                  <a:moveTo>
                    <a:pt x="48" y="37"/>
                  </a:moveTo>
                  <a:cubicBezTo>
                    <a:pt x="63" y="38"/>
                    <a:pt x="64" y="38"/>
                    <a:pt x="64" y="42"/>
                  </a:cubicBezTo>
                  <a:cubicBezTo>
                    <a:pt x="64" y="45"/>
                    <a:pt x="60" y="48"/>
                    <a:pt x="53" y="48"/>
                  </a:cubicBezTo>
                  <a:cubicBezTo>
                    <a:pt x="48" y="48"/>
                    <a:pt x="45" y="46"/>
                    <a:pt x="45" y="43"/>
                  </a:cubicBezTo>
                  <a:cubicBezTo>
                    <a:pt x="45" y="40"/>
                    <a:pt x="46" y="39"/>
                    <a:pt x="48" y="37"/>
                  </a:cubicBezTo>
                  <a:close/>
                  <a:moveTo>
                    <a:pt x="102" y="19"/>
                  </a:moveTo>
                  <a:cubicBezTo>
                    <a:pt x="102" y="6"/>
                    <a:pt x="97" y="0"/>
                    <a:pt x="89" y="0"/>
                  </a:cubicBezTo>
                  <a:cubicBezTo>
                    <a:pt x="80" y="0"/>
                    <a:pt x="75" y="8"/>
                    <a:pt x="75" y="21"/>
                  </a:cubicBezTo>
                  <a:cubicBezTo>
                    <a:pt x="75" y="33"/>
                    <a:pt x="80" y="39"/>
                    <a:pt x="89" y="39"/>
                  </a:cubicBezTo>
                  <a:cubicBezTo>
                    <a:pt x="95" y="39"/>
                    <a:pt x="98" y="37"/>
                    <a:pt x="102" y="30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6" y="32"/>
                    <a:pt x="94" y="34"/>
                    <a:pt x="91" y="34"/>
                  </a:cubicBezTo>
                  <a:cubicBezTo>
                    <a:pt x="86" y="34"/>
                    <a:pt x="83" y="29"/>
                    <a:pt x="82" y="19"/>
                  </a:cubicBezTo>
                  <a:cubicBezTo>
                    <a:pt x="102" y="19"/>
                    <a:pt x="102" y="19"/>
                    <a:pt x="102" y="19"/>
                  </a:cubicBezTo>
                  <a:close/>
                  <a:moveTo>
                    <a:pt x="82" y="15"/>
                  </a:moveTo>
                  <a:cubicBezTo>
                    <a:pt x="83" y="7"/>
                    <a:pt x="85" y="4"/>
                    <a:pt x="88" y="4"/>
                  </a:cubicBezTo>
                  <a:cubicBezTo>
                    <a:pt x="92" y="4"/>
                    <a:pt x="94" y="7"/>
                    <a:pt x="94" y="15"/>
                  </a:cubicBezTo>
                  <a:cubicBezTo>
                    <a:pt x="82" y="15"/>
                    <a:pt x="82" y="15"/>
                    <a:pt x="82" y="15"/>
                  </a:cubicBezTo>
                  <a:close/>
                  <a:moveTo>
                    <a:pt x="120" y="0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108" y="3"/>
                    <a:pt x="108" y="3"/>
                    <a:pt x="108" y="3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2" y="34"/>
                    <a:pt x="112" y="34"/>
                    <a:pt x="112" y="34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5" y="35"/>
                    <a:pt x="125" y="35"/>
                    <a:pt x="125" y="35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14"/>
                    <a:pt x="120" y="14"/>
                    <a:pt x="120" y="14"/>
                  </a:cubicBezTo>
                  <a:cubicBezTo>
                    <a:pt x="120" y="12"/>
                    <a:pt x="122" y="9"/>
                    <a:pt x="124" y="8"/>
                  </a:cubicBezTo>
                  <a:cubicBezTo>
                    <a:pt x="128" y="10"/>
                    <a:pt x="128" y="10"/>
                    <a:pt x="128" y="10"/>
                  </a:cubicBezTo>
                  <a:cubicBezTo>
                    <a:pt x="130" y="8"/>
                    <a:pt x="131" y="7"/>
                    <a:pt x="131" y="5"/>
                  </a:cubicBezTo>
                  <a:cubicBezTo>
                    <a:pt x="131" y="3"/>
                    <a:pt x="130" y="1"/>
                    <a:pt x="127" y="1"/>
                  </a:cubicBezTo>
                  <a:cubicBezTo>
                    <a:pt x="124" y="1"/>
                    <a:pt x="123" y="2"/>
                    <a:pt x="120" y="8"/>
                  </a:cubicBezTo>
                  <a:cubicBezTo>
                    <a:pt x="120" y="0"/>
                    <a:pt x="120" y="0"/>
                    <a:pt x="120" y="0"/>
                  </a:cubicBezTo>
                  <a:close/>
                  <a:moveTo>
                    <a:pt x="31" y="60"/>
                  </a:moveTo>
                  <a:cubicBezTo>
                    <a:pt x="28" y="60"/>
                    <a:pt x="26" y="63"/>
                    <a:pt x="26" y="65"/>
                  </a:cubicBezTo>
                  <a:cubicBezTo>
                    <a:pt x="26" y="68"/>
                    <a:pt x="28" y="70"/>
                    <a:pt x="31" y="70"/>
                  </a:cubicBezTo>
                  <a:cubicBezTo>
                    <a:pt x="34" y="70"/>
                    <a:pt x="36" y="68"/>
                    <a:pt x="36" y="65"/>
                  </a:cubicBezTo>
                  <a:cubicBezTo>
                    <a:pt x="36" y="63"/>
                    <a:pt x="34" y="60"/>
                    <a:pt x="31" y="60"/>
                  </a:cubicBezTo>
                  <a:close/>
                  <a:moveTo>
                    <a:pt x="39" y="117"/>
                  </a:moveTo>
                  <a:cubicBezTo>
                    <a:pt x="39" y="114"/>
                    <a:pt x="39" y="114"/>
                    <a:pt x="39" y="114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24" y="82"/>
                    <a:pt x="24" y="82"/>
                    <a:pt x="24" y="82"/>
                  </a:cubicBezTo>
                  <a:cubicBezTo>
                    <a:pt x="24" y="84"/>
                    <a:pt x="24" y="84"/>
                    <a:pt x="24" y="84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24" y="114"/>
                    <a:pt x="24" y="114"/>
                    <a:pt x="24" y="114"/>
                  </a:cubicBezTo>
                  <a:cubicBezTo>
                    <a:pt x="24" y="117"/>
                    <a:pt x="24" y="117"/>
                    <a:pt x="24" y="117"/>
                  </a:cubicBezTo>
                  <a:cubicBezTo>
                    <a:pt x="100" y="117"/>
                    <a:pt x="100" y="117"/>
                    <a:pt x="100" y="117"/>
                  </a:cubicBezTo>
                  <a:cubicBezTo>
                    <a:pt x="100" y="114"/>
                    <a:pt x="100" y="114"/>
                    <a:pt x="100" y="114"/>
                  </a:cubicBezTo>
                  <a:cubicBezTo>
                    <a:pt x="95" y="113"/>
                    <a:pt x="95" y="113"/>
                    <a:pt x="95" y="113"/>
                  </a:cubicBezTo>
                  <a:cubicBezTo>
                    <a:pt x="95" y="90"/>
                    <a:pt x="95" y="90"/>
                    <a:pt x="95" y="90"/>
                  </a:cubicBezTo>
                  <a:cubicBezTo>
                    <a:pt x="95" y="82"/>
                    <a:pt x="93" y="79"/>
                    <a:pt x="86" y="79"/>
                  </a:cubicBezTo>
                  <a:cubicBezTo>
                    <a:pt x="82" y="79"/>
                    <a:pt x="79" y="81"/>
                    <a:pt x="75" y="84"/>
                  </a:cubicBezTo>
                  <a:cubicBezTo>
                    <a:pt x="73" y="81"/>
                    <a:pt x="71" y="79"/>
                    <a:pt x="67" y="79"/>
                  </a:cubicBezTo>
                  <a:cubicBezTo>
                    <a:pt x="63" y="79"/>
                    <a:pt x="60" y="81"/>
                    <a:pt x="56" y="84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113"/>
                    <a:pt x="49" y="113"/>
                    <a:pt x="49" y="113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45" y="117"/>
                    <a:pt x="45" y="117"/>
                    <a:pt x="45" y="117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57" y="113"/>
                    <a:pt x="57" y="113"/>
                    <a:pt x="57" y="113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9" y="85"/>
                    <a:pt x="61" y="84"/>
                    <a:pt x="64" y="84"/>
                  </a:cubicBezTo>
                  <a:cubicBezTo>
                    <a:pt x="67" y="84"/>
                    <a:pt x="69" y="87"/>
                    <a:pt x="69" y="91"/>
                  </a:cubicBezTo>
                  <a:cubicBezTo>
                    <a:pt x="69" y="113"/>
                    <a:pt x="69" y="113"/>
                    <a:pt x="69" y="113"/>
                  </a:cubicBezTo>
                  <a:cubicBezTo>
                    <a:pt x="64" y="114"/>
                    <a:pt x="64" y="114"/>
                    <a:pt x="64" y="114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80" y="117"/>
                    <a:pt x="80" y="117"/>
                    <a:pt x="80" y="117"/>
                  </a:cubicBezTo>
                  <a:cubicBezTo>
                    <a:pt x="80" y="114"/>
                    <a:pt x="80" y="114"/>
                    <a:pt x="80" y="114"/>
                  </a:cubicBezTo>
                  <a:cubicBezTo>
                    <a:pt x="76" y="113"/>
                    <a:pt x="76" y="113"/>
                    <a:pt x="76" y="113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9" y="85"/>
                    <a:pt x="81" y="84"/>
                    <a:pt x="83" y="84"/>
                  </a:cubicBezTo>
                  <a:cubicBezTo>
                    <a:pt x="86" y="84"/>
                    <a:pt x="88" y="86"/>
                    <a:pt x="88" y="92"/>
                  </a:cubicBezTo>
                  <a:cubicBezTo>
                    <a:pt x="88" y="113"/>
                    <a:pt x="88" y="113"/>
                    <a:pt x="88" y="113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7"/>
                    <a:pt x="84" y="117"/>
                    <a:pt x="84" y="117"/>
                  </a:cubicBezTo>
                  <a:cubicBezTo>
                    <a:pt x="100" y="117"/>
                    <a:pt x="100" y="117"/>
                    <a:pt x="100" y="117"/>
                  </a:cubicBezTo>
                  <a:cubicBezTo>
                    <a:pt x="39" y="117"/>
                    <a:pt x="39" y="117"/>
                    <a:pt x="39" y="1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529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Slide Number"/>
          <p:cNvSpPr txBox="1">
            <a:spLocks/>
          </p:cNvSpPr>
          <p:nvPr userDrawn="1"/>
        </p:nvSpPr>
        <p:spPr bwMode="auto">
          <a:xfrm>
            <a:off x="8802412" y="6513631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3529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defTabSz="913529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74946" y="6546014"/>
            <a:ext cx="6841963" cy="2198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defTabSz="913529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PRIVILEGED AND CONFIDENTIAL – ATTORNEY WORK PRODUCT – A/C PRIVILEGED</a:t>
            </a:r>
          </a:p>
          <a:p>
            <a:pPr defTabSz="913529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For integration preparation purposes only. All proposals will be subject to appropriate consultation where applicable with employees and employee representative bodies.</a:t>
            </a:r>
          </a:p>
        </p:txBody>
      </p:sp>
    </p:spTree>
    <p:extLst>
      <p:ext uri="{BB962C8B-B14F-4D97-AF65-F5344CB8AC3E}">
        <p14:creationId xmlns:p14="http://schemas.microsoft.com/office/powerpoint/2010/main" val="3494093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1338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33"/>
            <a:ext cx="7772400" cy="147002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1" y="3886208"/>
            <a:ext cx="6400800" cy="251222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8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363" tIns="45681" rIns="91363" bIns="45681"/>
          <a:lstStyle/>
          <a:p>
            <a:pPr defTabSz="91401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lIns="91363" tIns="45681" rIns="91363" bIns="45681"/>
          <a:lstStyle/>
          <a:p>
            <a:pPr defTabSz="91401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91363" tIns="45681" rIns="91363" bIns="45681"/>
          <a:lstStyle/>
          <a:p>
            <a:pPr defTabSz="914012" fontAlgn="base">
              <a:spcBef>
                <a:spcPct val="0"/>
              </a:spcBef>
              <a:spcAft>
                <a:spcPct val="0"/>
              </a:spcAft>
            </a:pPr>
            <a:fld id="{478C7020-1C5F-40F0-B650-46723706328F}" type="slidenum">
              <a:rPr lang="en-US" sz="1600" smtClean="0">
                <a:solidFill>
                  <a:prstClr val="black">
                    <a:tint val="75000"/>
                  </a:prstClr>
                </a:solidFill>
              </a:rPr>
              <a:pPr defTabSz="914012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6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88540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6779521"/>
              </p:ext>
            </p:extLst>
          </p:nvPr>
        </p:nvGraphicFramePr>
        <p:xfrm>
          <a:off x="1701" y="17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01" y="17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220" descr="D:\Team members\Don't Delete_Mithun\2016\01 January\28-01-2016\FT1764\Cover-01.jp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0" y="-92166"/>
            <a:ext cx="9144000" cy="6950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31850" y="220285"/>
            <a:ext cx="1312071" cy="388739"/>
          </a:xfrm>
          <a:prstGeom prst="rect">
            <a:avLst/>
          </a:prstGeom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631738" y="6039443"/>
            <a:ext cx="4727576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2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20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31738" y="3949083"/>
            <a:ext cx="4727576" cy="984884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31738" y="5199238"/>
            <a:ext cx="4727576" cy="282625"/>
          </a:xfrm>
        </p:spPr>
        <p:txBody>
          <a:bodyPr wrap="square">
            <a:spAutoFit/>
          </a:bodyPr>
          <a:lstStyle>
            <a:lvl1pPr>
              <a:defRPr sz="18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174946" y="6546014"/>
            <a:ext cx="6841963" cy="2198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PRIVILEGED AND CONFIDENTIAL – ATTORNEY WORK PRODUCT – A/C PRIVILEGED</a:t>
            </a:r>
          </a:p>
          <a:p>
            <a:pPr defTabSz="914206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For integration preparation purposes only. All proposals will be subject to appropriate consultation where applicable with employees and employee representative bodies.</a:t>
            </a:r>
          </a:p>
        </p:txBody>
      </p:sp>
    </p:spTree>
    <p:extLst>
      <p:ext uri="{BB962C8B-B14F-4D97-AF65-F5344CB8AC3E}">
        <p14:creationId xmlns:p14="http://schemas.microsoft.com/office/powerpoint/2010/main" val="9007670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6503118"/>
              </p:ext>
            </p:extLst>
          </p:nvPr>
        </p:nvGraphicFramePr>
        <p:xfrm>
          <a:off x="1733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33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174946" y="6546014"/>
            <a:ext cx="6841963" cy="2198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PRIVILEGED AND CONFIDENTIAL – ATTORNEY WORK PRODUCT – A/C PRIVILEGED</a:t>
            </a:r>
          </a:p>
          <a:p>
            <a:pPr defTabSz="914206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For integration preparation purposes only. All proposals will be subject to appropriate consultation where applicable with employees and employee representative bodies.</a:t>
            </a:r>
          </a:p>
        </p:txBody>
      </p:sp>
    </p:spTree>
    <p:extLst>
      <p:ext uri="{BB962C8B-B14F-4D97-AF65-F5344CB8AC3E}">
        <p14:creationId xmlns:p14="http://schemas.microsoft.com/office/powerpoint/2010/main" val="14841999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07028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921" y="427025"/>
            <a:ext cx="8666145" cy="786121"/>
          </a:xfrm>
        </p:spPr>
        <p:txBody>
          <a:bodyPr>
            <a:noAutofit/>
          </a:bodyPr>
          <a:lstStyle>
            <a:lvl1pPr algn="l">
              <a:lnSpc>
                <a:spcPts val="2400"/>
              </a:lnSpc>
              <a:defRPr sz="2400" b="1" i="0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612317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Slides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1498" y="283651"/>
            <a:ext cx="7145786" cy="597536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lnSpc>
                <a:spcPct val="70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"/>
          </p:nvPr>
        </p:nvSpPr>
        <p:spPr>
          <a:xfrm>
            <a:off x="271643" y="1494563"/>
            <a:ext cx="8624085" cy="551698"/>
          </a:xfrm>
          <a:prstGeom prst="rect">
            <a:avLst/>
          </a:prstGeom>
        </p:spPr>
        <p:txBody>
          <a:bodyPr lIns="78951" tIns="39479" rIns="78951" bIns="39479"/>
          <a:lstStyle>
            <a:lvl1pPr marL="152127" indent="-152127">
              <a:buClr>
                <a:schemeClr val="accent1"/>
              </a:buClr>
              <a:buFont typeface="Wingdings" pitchFamily="2" charset="2"/>
              <a:buChar char=""/>
              <a:defRPr sz="1000">
                <a:latin typeface="Calibri" pitchFamily="34" charset="0"/>
                <a:cs typeface="Calibri" pitchFamily="34" charset="0"/>
              </a:defRPr>
            </a:lvl1pPr>
            <a:lvl2pPr marL="313859" indent="-161725">
              <a:buClr>
                <a:schemeClr val="accent1"/>
              </a:buClr>
              <a:buSzPct val="90000"/>
              <a:buFont typeface="Wingdings" pitchFamily="2" charset="2"/>
              <a:buChar char="n"/>
              <a:defRPr sz="1000">
                <a:latin typeface="Calibri" pitchFamily="34" charset="0"/>
                <a:cs typeface="Calibri" pitchFamily="34" charset="0"/>
              </a:defRPr>
            </a:lvl2pPr>
            <a:lvl3pPr marL="475625" indent="-161725">
              <a:buClr>
                <a:schemeClr val="accent1"/>
              </a:buClr>
              <a:buSzPct val="80000"/>
              <a:buFont typeface="Wingdings" pitchFamily="2" charset="2"/>
              <a:buChar char="n"/>
              <a:defRPr sz="1000">
                <a:latin typeface="Calibri" pitchFamily="34" charset="0"/>
                <a:cs typeface="Calibri" pitchFamily="34" charset="0"/>
              </a:defRPr>
            </a:lvl3pPr>
            <a:lvl4pPr marL="619465" indent="-153478">
              <a:defRPr sz="1000">
                <a:latin typeface="Calibri" pitchFamily="34" charset="0"/>
                <a:cs typeface="Calibri" pitchFamily="34" charset="0"/>
              </a:defRPr>
            </a:lvl4pPr>
            <a:lvl5pPr marL="771596" indent="-152127">
              <a:buClr>
                <a:schemeClr val="accent1"/>
              </a:buClr>
              <a:buFont typeface="Arial" pitchFamily="34" charset="0"/>
              <a:buChar char="•"/>
              <a:defRPr sz="10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988207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.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922" y="248896"/>
            <a:ext cx="8666145" cy="786121"/>
          </a:xfrm>
        </p:spPr>
        <p:txBody>
          <a:bodyPr>
            <a:noAutofit/>
          </a:bodyPr>
          <a:lstStyle>
            <a:lvl1pPr algn="l">
              <a:lnSpc>
                <a:spcPts val="2400"/>
              </a:lnSpc>
              <a:defRPr sz="2400" b="1" i="0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8228906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2048" y="1364557"/>
            <a:ext cx="8229600" cy="1256112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85651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47868" y="2182090"/>
            <a:ext cx="8234170" cy="3628338"/>
          </a:xfrm>
        </p:spPr>
        <p:txBody>
          <a:bodyPr>
            <a:noAutofit/>
          </a:bodyPr>
          <a:lstStyle>
            <a:lvl1pPr>
              <a:spcBef>
                <a:spcPts val="1500"/>
              </a:spcBef>
              <a:defRPr sz="1800"/>
            </a:lvl1pPr>
            <a:lvl2pPr marL="506770" indent="-174153">
              <a:spcBef>
                <a:spcPts val="700"/>
              </a:spcBef>
              <a:buFont typeface="Arial" panose="020B0604020202020204" pitchFamily="34" charset="0"/>
              <a:buChar char="–"/>
              <a:defRPr sz="1600"/>
            </a:lvl2pPr>
            <a:lvl3pPr marL="792312" indent="-166308">
              <a:spcBef>
                <a:spcPts val="300"/>
              </a:spcBef>
              <a:defRPr sz="1400"/>
            </a:lvl3pPr>
            <a:lvl4pPr marL="1070013" indent="-166308">
              <a:spcBef>
                <a:spcPts val="200"/>
              </a:spcBef>
              <a:buFont typeface="Arial" panose="020B0604020202020204" pitchFamily="34" charset="0"/>
              <a:buChar char="–"/>
              <a:defRPr sz="1200"/>
            </a:lvl4pPr>
            <a:lvl5pPr marL="1355555" indent="-167877">
              <a:spcBef>
                <a:spcPts val="100"/>
              </a:spcBef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7882" y="1433803"/>
            <a:ext cx="8245281" cy="67170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1846" indent="0">
              <a:buNone/>
              <a:defRPr sz="2000" b="1"/>
            </a:lvl2pPr>
            <a:lvl3pPr marL="903704" indent="0">
              <a:buNone/>
              <a:defRPr sz="1800" b="1"/>
            </a:lvl3pPr>
            <a:lvl4pPr marL="1355555" indent="0">
              <a:buNone/>
              <a:defRPr sz="1600" b="1"/>
            </a:lvl4pPr>
            <a:lvl5pPr marL="1807405" indent="0">
              <a:buNone/>
              <a:defRPr sz="1600" b="1"/>
            </a:lvl5pPr>
            <a:lvl6pPr marL="2259259" indent="0">
              <a:buNone/>
              <a:defRPr sz="1600" b="1"/>
            </a:lvl6pPr>
            <a:lvl7pPr marL="2711116" indent="0">
              <a:buNone/>
              <a:defRPr sz="1600" b="1"/>
            </a:lvl7pPr>
            <a:lvl8pPr marL="3162966" indent="0">
              <a:buNone/>
              <a:defRPr sz="1600" b="1"/>
            </a:lvl8pPr>
            <a:lvl9pPr marL="3614815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57200" y="5922151"/>
            <a:ext cx="7616536" cy="214226"/>
          </a:xfrm>
        </p:spPr>
        <p:txBody>
          <a:bodyPr wrap="square" anchor="b" anchorCtr="0">
            <a:noAutofit/>
          </a:bodyPr>
          <a:lstStyle>
            <a:lvl1pPr marL="0" indent="0">
              <a:lnSpc>
                <a:spcPct val="88000"/>
              </a:lnSpc>
              <a:spcBef>
                <a:spcPts val="120"/>
              </a:spcBef>
              <a:buNone/>
              <a:tabLst/>
              <a:defRPr sz="800"/>
            </a:lvl1pPr>
            <a:lvl2pPr marL="451846" indent="0">
              <a:buNone/>
              <a:defRPr/>
            </a:lvl2pPr>
            <a:lvl3pPr marL="903704" indent="0">
              <a:buNone/>
              <a:defRPr/>
            </a:lvl3pPr>
            <a:lvl4pPr marL="1244164" indent="0">
              <a:buNone/>
              <a:defRPr/>
            </a:lvl4pPr>
            <a:lvl5pPr marL="1639532" indent="0">
              <a:buNone/>
              <a:defRPr/>
            </a:lvl5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21" y="847159"/>
            <a:ext cx="8220142" cy="355482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2"/>
                </a:solidFill>
              </a:defRPr>
            </a:lvl1pPr>
            <a:lvl2pPr marL="451846" indent="0">
              <a:buNone/>
              <a:defRPr/>
            </a:lvl2pPr>
            <a:lvl3pPr marL="903704" indent="0">
              <a:buNone/>
              <a:defRPr/>
            </a:lvl3pPr>
            <a:lvl4pPr marL="1244164" indent="0">
              <a:buNone/>
              <a:defRPr/>
            </a:lvl4pPr>
            <a:lvl5pPr marL="1639532" indent="0"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51738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ltGray">
          <a:xfrm>
            <a:off x="3239" y="6402452"/>
            <a:ext cx="9140760" cy="379385"/>
          </a:xfrm>
          <a:prstGeom prst="rect">
            <a:avLst/>
          </a:prstGeom>
          <a:solidFill>
            <a:srgbClr val="285888"/>
          </a:solidFill>
          <a:ln w="9525">
            <a:solidFill>
              <a:srgbClr val="28588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3206" tIns="46604" rIns="93206" bIns="46604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70404"/>
            <a:endParaRPr lang="en-US" sz="1000" b="1" kern="0" dirty="0">
              <a:solidFill>
                <a:srgbClr val="FFFFFF"/>
              </a:solidFill>
              <a:latin typeface="BISansCond"/>
              <a:cs typeface="Arial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 bwMode="ltGray">
          <a:xfrm>
            <a:off x="3239" y="6781837"/>
            <a:ext cx="9140760" cy="74551"/>
          </a:xfrm>
          <a:prstGeom prst="rect">
            <a:avLst/>
          </a:prstGeom>
          <a:solidFill>
            <a:srgbClr val="003366"/>
          </a:solidFill>
          <a:ln w="9525">
            <a:solidFill>
              <a:srgbClr val="00336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3206" tIns="46604" rIns="93206" bIns="46604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70404"/>
            <a:endParaRPr lang="en-US" sz="1000" b="1" kern="0" dirty="0">
              <a:solidFill>
                <a:srgbClr val="FFFFFF"/>
              </a:solidFill>
              <a:latin typeface="BISansCond"/>
              <a:cs typeface="Arial" pitchFamily="34" charset="0"/>
            </a:endParaRPr>
          </a:p>
        </p:txBody>
      </p:sp>
      <p:grpSp>
        <p:nvGrpSpPr>
          <p:cNvPr id="4" name="Group 3"/>
          <p:cNvGrpSpPr/>
          <p:nvPr userDrawn="1"/>
        </p:nvGrpSpPr>
        <p:grpSpPr bwMode="auto">
          <a:xfrm>
            <a:off x="7607998" y="6445567"/>
            <a:ext cx="1020082" cy="308657"/>
            <a:chOff x="2103438" y="-793750"/>
            <a:chExt cx="1893887" cy="573087"/>
          </a:xfrm>
        </p:grpSpPr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2755900" y="-768350"/>
              <a:ext cx="401637" cy="547687"/>
            </a:xfrm>
            <a:custGeom>
              <a:avLst/>
              <a:gdLst>
                <a:gd name="T0" fmla="*/ 13 w 107"/>
                <a:gd name="T1" fmla="*/ 4 h 146"/>
                <a:gd name="T2" fmla="*/ 26 w 107"/>
                <a:gd name="T3" fmla="*/ 13 h 146"/>
                <a:gd name="T4" fmla="*/ 13 w 107"/>
                <a:gd name="T5" fmla="*/ 24 h 146"/>
                <a:gd name="T6" fmla="*/ 0 w 107"/>
                <a:gd name="T7" fmla="*/ 1 h 146"/>
                <a:gd name="T8" fmla="*/ 5 w 107"/>
                <a:gd name="T9" fmla="*/ 5 h 146"/>
                <a:gd name="T10" fmla="*/ 0 w 107"/>
                <a:gd name="T11" fmla="*/ 50 h 146"/>
                <a:gd name="T12" fmla="*/ 9 w 107"/>
                <a:gd name="T13" fmla="*/ 53 h 146"/>
                <a:gd name="T14" fmla="*/ 19 w 107"/>
                <a:gd name="T15" fmla="*/ 54 h 146"/>
                <a:gd name="T16" fmla="*/ 38 w 107"/>
                <a:gd name="T17" fmla="*/ 40 h 146"/>
                <a:gd name="T18" fmla="*/ 35 w 107"/>
                <a:gd name="T19" fmla="*/ 13 h 146"/>
                <a:gd name="T20" fmla="*/ 15 w 107"/>
                <a:gd name="T21" fmla="*/ 0 h 146"/>
                <a:gd name="T22" fmla="*/ 13 w 107"/>
                <a:gd name="T23" fmla="*/ 28 h 146"/>
                <a:gd name="T24" fmla="*/ 29 w 107"/>
                <a:gd name="T25" fmla="*/ 39 h 146"/>
                <a:gd name="T26" fmla="*/ 13 w 107"/>
                <a:gd name="T27" fmla="*/ 49 h 146"/>
                <a:gd name="T28" fmla="*/ 59 w 107"/>
                <a:gd name="T29" fmla="*/ 15 h 146"/>
                <a:gd name="T30" fmla="*/ 59 w 107"/>
                <a:gd name="T31" fmla="*/ 54 h 146"/>
                <a:gd name="T32" fmla="*/ 59 w 107"/>
                <a:gd name="T33" fmla="*/ 15 h 146"/>
                <a:gd name="T34" fmla="*/ 66 w 107"/>
                <a:gd name="T35" fmla="*/ 33 h 146"/>
                <a:gd name="T36" fmla="*/ 52 w 107"/>
                <a:gd name="T37" fmla="*/ 35 h 146"/>
                <a:gd name="T38" fmla="*/ 107 w 107"/>
                <a:gd name="T39" fmla="*/ 34 h 146"/>
                <a:gd name="T40" fmla="*/ 80 w 107"/>
                <a:gd name="T41" fmla="*/ 36 h 146"/>
                <a:gd name="T42" fmla="*/ 107 w 107"/>
                <a:gd name="T43" fmla="*/ 45 h 146"/>
                <a:gd name="T44" fmla="*/ 96 w 107"/>
                <a:gd name="T45" fmla="*/ 49 h 146"/>
                <a:gd name="T46" fmla="*/ 107 w 107"/>
                <a:gd name="T47" fmla="*/ 34 h 146"/>
                <a:gd name="T48" fmla="*/ 94 w 107"/>
                <a:gd name="T49" fmla="*/ 19 h 146"/>
                <a:gd name="T50" fmla="*/ 87 w 107"/>
                <a:gd name="T51" fmla="*/ 30 h 146"/>
                <a:gd name="T52" fmla="*/ 17 w 107"/>
                <a:gd name="T53" fmla="*/ 129 h 146"/>
                <a:gd name="T54" fmla="*/ 13 w 107"/>
                <a:gd name="T55" fmla="*/ 83 h 146"/>
                <a:gd name="T56" fmla="*/ 18 w 107"/>
                <a:gd name="T57" fmla="*/ 79 h 146"/>
                <a:gd name="T58" fmla="*/ 0 w 107"/>
                <a:gd name="T59" fmla="*/ 82 h 146"/>
                <a:gd name="T60" fmla="*/ 5 w 107"/>
                <a:gd name="T61" fmla="*/ 128 h 146"/>
                <a:gd name="T62" fmla="*/ 0 w 107"/>
                <a:gd name="T63" fmla="*/ 132 h 146"/>
                <a:gd name="T64" fmla="*/ 57 w 107"/>
                <a:gd name="T65" fmla="*/ 132 h 146"/>
                <a:gd name="T66" fmla="*/ 53 w 107"/>
                <a:gd name="T67" fmla="*/ 128 h 146"/>
                <a:gd name="T68" fmla="*/ 44 w 107"/>
                <a:gd name="T69" fmla="*/ 94 h 146"/>
                <a:gd name="T70" fmla="*/ 34 w 107"/>
                <a:gd name="T71" fmla="*/ 94 h 146"/>
                <a:gd name="T72" fmla="*/ 23 w 107"/>
                <a:gd name="T73" fmla="*/ 96 h 146"/>
                <a:gd name="T74" fmla="*/ 27 w 107"/>
                <a:gd name="T75" fmla="*/ 100 h 146"/>
                <a:gd name="T76" fmla="*/ 23 w 107"/>
                <a:gd name="T77" fmla="*/ 129 h 146"/>
                <a:gd name="T78" fmla="*/ 38 w 107"/>
                <a:gd name="T79" fmla="*/ 132 h 146"/>
                <a:gd name="T80" fmla="*/ 34 w 107"/>
                <a:gd name="T81" fmla="*/ 128 h 146"/>
                <a:gd name="T82" fmla="*/ 42 w 107"/>
                <a:gd name="T83" fmla="*/ 99 h 146"/>
                <a:gd name="T84" fmla="*/ 46 w 107"/>
                <a:gd name="T85" fmla="*/ 128 h 146"/>
                <a:gd name="T86" fmla="*/ 42 w 107"/>
                <a:gd name="T87" fmla="*/ 132 h 146"/>
                <a:gd name="T88" fmla="*/ 93 w 107"/>
                <a:gd name="T89" fmla="*/ 99 h 146"/>
                <a:gd name="T90" fmla="*/ 87 w 107"/>
                <a:gd name="T91" fmla="*/ 95 h 146"/>
                <a:gd name="T92" fmla="*/ 84 w 107"/>
                <a:gd name="T93" fmla="*/ 95 h 146"/>
                <a:gd name="T94" fmla="*/ 76 w 107"/>
                <a:gd name="T95" fmla="*/ 93 h 146"/>
                <a:gd name="T96" fmla="*/ 70 w 107"/>
                <a:gd name="T97" fmla="*/ 117 h 146"/>
                <a:gd name="T98" fmla="*/ 67 w 107"/>
                <a:gd name="T99" fmla="*/ 130 h 146"/>
                <a:gd name="T100" fmla="*/ 75 w 107"/>
                <a:gd name="T101" fmla="*/ 146 h 146"/>
                <a:gd name="T102" fmla="*/ 82 w 107"/>
                <a:gd name="T103" fmla="*/ 124 h 146"/>
                <a:gd name="T104" fmla="*/ 70 w 107"/>
                <a:gd name="T105" fmla="*/ 122 h 146"/>
                <a:gd name="T106" fmla="*/ 77 w 107"/>
                <a:gd name="T107" fmla="*/ 119 h 146"/>
                <a:gd name="T108" fmla="*/ 87 w 107"/>
                <a:gd name="T109" fmla="*/ 99 h 146"/>
                <a:gd name="T110" fmla="*/ 76 w 107"/>
                <a:gd name="T111" fmla="*/ 97 h 146"/>
                <a:gd name="T112" fmla="*/ 77 w 107"/>
                <a:gd name="T113" fmla="*/ 115 h 146"/>
                <a:gd name="T114" fmla="*/ 76 w 107"/>
                <a:gd name="T115" fmla="*/ 97 h 146"/>
                <a:gd name="T116" fmla="*/ 88 w 107"/>
                <a:gd name="T117" fmla="*/ 135 h 146"/>
                <a:gd name="T118" fmla="*/ 68 w 107"/>
                <a:gd name="T119" fmla="*/ 136 h 146"/>
                <a:gd name="T120" fmla="*/ 74 w 107"/>
                <a:gd name="T121" fmla="*/ 131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7" h="146">
                  <a:moveTo>
                    <a:pt x="13" y="24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15" y="4"/>
                    <a:pt x="16" y="3"/>
                    <a:pt x="17" y="3"/>
                  </a:cubicBezTo>
                  <a:cubicBezTo>
                    <a:pt x="23" y="3"/>
                    <a:pt x="26" y="7"/>
                    <a:pt x="26" y="13"/>
                  </a:cubicBezTo>
                  <a:cubicBezTo>
                    <a:pt x="26" y="21"/>
                    <a:pt x="23" y="24"/>
                    <a:pt x="16" y="24"/>
                  </a:cubicBezTo>
                  <a:cubicBezTo>
                    <a:pt x="13" y="24"/>
                    <a:pt x="13" y="24"/>
                    <a:pt x="13" y="24"/>
                  </a:cubicBezTo>
                  <a:close/>
                  <a:moveTo>
                    <a:pt x="9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10" y="53"/>
                    <a:pt x="12" y="53"/>
                    <a:pt x="15" y="54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5" y="54"/>
                    <a:pt x="27" y="53"/>
                    <a:pt x="30" y="52"/>
                  </a:cubicBezTo>
                  <a:cubicBezTo>
                    <a:pt x="35" y="50"/>
                    <a:pt x="38" y="45"/>
                    <a:pt x="38" y="40"/>
                  </a:cubicBezTo>
                  <a:cubicBezTo>
                    <a:pt x="38" y="32"/>
                    <a:pt x="34" y="27"/>
                    <a:pt x="26" y="25"/>
                  </a:cubicBezTo>
                  <a:cubicBezTo>
                    <a:pt x="32" y="22"/>
                    <a:pt x="35" y="18"/>
                    <a:pt x="35" y="13"/>
                  </a:cubicBezTo>
                  <a:cubicBezTo>
                    <a:pt x="35" y="5"/>
                    <a:pt x="29" y="0"/>
                    <a:pt x="20" y="0"/>
                  </a:cubicBezTo>
                  <a:cubicBezTo>
                    <a:pt x="20" y="0"/>
                    <a:pt x="18" y="0"/>
                    <a:pt x="15" y="0"/>
                  </a:cubicBezTo>
                  <a:cubicBezTo>
                    <a:pt x="9" y="1"/>
                    <a:pt x="9" y="1"/>
                    <a:pt x="9" y="1"/>
                  </a:cubicBezTo>
                  <a:close/>
                  <a:moveTo>
                    <a:pt x="13" y="28"/>
                  </a:moveTo>
                  <a:cubicBezTo>
                    <a:pt x="16" y="28"/>
                    <a:pt x="16" y="28"/>
                    <a:pt x="16" y="28"/>
                  </a:cubicBezTo>
                  <a:cubicBezTo>
                    <a:pt x="25" y="28"/>
                    <a:pt x="29" y="31"/>
                    <a:pt x="29" y="39"/>
                  </a:cubicBezTo>
                  <a:cubicBezTo>
                    <a:pt x="29" y="46"/>
                    <a:pt x="25" y="50"/>
                    <a:pt x="17" y="50"/>
                  </a:cubicBezTo>
                  <a:cubicBezTo>
                    <a:pt x="15" y="50"/>
                    <a:pt x="14" y="50"/>
                    <a:pt x="13" y="49"/>
                  </a:cubicBezTo>
                  <a:cubicBezTo>
                    <a:pt x="13" y="28"/>
                    <a:pt x="13" y="28"/>
                    <a:pt x="13" y="28"/>
                  </a:cubicBezTo>
                  <a:close/>
                  <a:moveTo>
                    <a:pt x="59" y="15"/>
                  </a:moveTo>
                  <a:cubicBezTo>
                    <a:pt x="50" y="15"/>
                    <a:pt x="44" y="23"/>
                    <a:pt x="44" y="35"/>
                  </a:cubicBezTo>
                  <a:cubicBezTo>
                    <a:pt x="44" y="46"/>
                    <a:pt x="50" y="54"/>
                    <a:pt x="59" y="54"/>
                  </a:cubicBezTo>
                  <a:cubicBezTo>
                    <a:pt x="68" y="54"/>
                    <a:pt x="74" y="46"/>
                    <a:pt x="74" y="34"/>
                  </a:cubicBezTo>
                  <a:cubicBezTo>
                    <a:pt x="74" y="23"/>
                    <a:pt x="68" y="15"/>
                    <a:pt x="59" y="15"/>
                  </a:cubicBezTo>
                  <a:close/>
                  <a:moveTo>
                    <a:pt x="59" y="19"/>
                  </a:moveTo>
                  <a:cubicBezTo>
                    <a:pt x="63" y="19"/>
                    <a:pt x="66" y="24"/>
                    <a:pt x="66" y="33"/>
                  </a:cubicBezTo>
                  <a:cubicBezTo>
                    <a:pt x="66" y="44"/>
                    <a:pt x="63" y="50"/>
                    <a:pt x="59" y="50"/>
                  </a:cubicBezTo>
                  <a:cubicBezTo>
                    <a:pt x="54" y="50"/>
                    <a:pt x="52" y="45"/>
                    <a:pt x="52" y="35"/>
                  </a:cubicBezTo>
                  <a:cubicBezTo>
                    <a:pt x="52" y="25"/>
                    <a:pt x="55" y="19"/>
                    <a:pt x="59" y="19"/>
                  </a:cubicBezTo>
                  <a:close/>
                  <a:moveTo>
                    <a:pt x="107" y="34"/>
                  </a:moveTo>
                  <a:cubicBezTo>
                    <a:pt x="107" y="21"/>
                    <a:pt x="103" y="15"/>
                    <a:pt x="94" y="15"/>
                  </a:cubicBezTo>
                  <a:cubicBezTo>
                    <a:pt x="85" y="15"/>
                    <a:pt x="80" y="23"/>
                    <a:pt x="80" y="36"/>
                  </a:cubicBezTo>
                  <a:cubicBezTo>
                    <a:pt x="80" y="48"/>
                    <a:pt x="85" y="54"/>
                    <a:pt x="94" y="54"/>
                  </a:cubicBezTo>
                  <a:cubicBezTo>
                    <a:pt x="100" y="54"/>
                    <a:pt x="103" y="52"/>
                    <a:pt x="107" y="45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1" y="47"/>
                    <a:pt x="99" y="49"/>
                    <a:pt x="96" y="49"/>
                  </a:cubicBezTo>
                  <a:cubicBezTo>
                    <a:pt x="91" y="49"/>
                    <a:pt x="88" y="44"/>
                    <a:pt x="87" y="34"/>
                  </a:cubicBezTo>
                  <a:cubicBezTo>
                    <a:pt x="107" y="34"/>
                    <a:pt x="107" y="34"/>
                    <a:pt x="107" y="34"/>
                  </a:cubicBezTo>
                  <a:close/>
                  <a:moveTo>
                    <a:pt x="87" y="30"/>
                  </a:moveTo>
                  <a:cubicBezTo>
                    <a:pt x="88" y="22"/>
                    <a:pt x="90" y="19"/>
                    <a:pt x="94" y="19"/>
                  </a:cubicBezTo>
                  <a:cubicBezTo>
                    <a:pt x="97" y="19"/>
                    <a:pt x="99" y="22"/>
                    <a:pt x="99" y="30"/>
                  </a:cubicBezTo>
                  <a:cubicBezTo>
                    <a:pt x="87" y="30"/>
                    <a:pt x="87" y="30"/>
                    <a:pt x="87" y="30"/>
                  </a:cubicBezTo>
                  <a:close/>
                  <a:moveTo>
                    <a:pt x="17" y="13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17" y="132"/>
                    <a:pt x="17" y="132"/>
                    <a:pt x="17" y="132"/>
                  </a:cubicBezTo>
                  <a:close/>
                  <a:moveTo>
                    <a:pt x="57" y="132"/>
                  </a:moveTo>
                  <a:cubicBezTo>
                    <a:pt x="57" y="129"/>
                    <a:pt x="57" y="129"/>
                    <a:pt x="57" y="129"/>
                  </a:cubicBezTo>
                  <a:cubicBezTo>
                    <a:pt x="53" y="128"/>
                    <a:pt x="53" y="128"/>
                    <a:pt x="53" y="128"/>
                  </a:cubicBezTo>
                  <a:cubicBezTo>
                    <a:pt x="53" y="104"/>
                    <a:pt x="53" y="104"/>
                    <a:pt x="53" y="104"/>
                  </a:cubicBezTo>
                  <a:cubicBezTo>
                    <a:pt x="53" y="98"/>
                    <a:pt x="50" y="94"/>
                    <a:pt x="44" y="94"/>
                  </a:cubicBezTo>
                  <a:cubicBezTo>
                    <a:pt x="41" y="94"/>
                    <a:pt x="39" y="95"/>
                    <a:pt x="34" y="98"/>
                  </a:cubicBezTo>
                  <a:cubicBezTo>
                    <a:pt x="34" y="94"/>
                    <a:pt x="34" y="94"/>
                    <a:pt x="34" y="94"/>
                  </a:cubicBezTo>
                  <a:cubicBezTo>
                    <a:pt x="32" y="94"/>
                    <a:pt x="32" y="94"/>
                    <a:pt x="32" y="94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7" y="100"/>
                    <a:pt x="27" y="100"/>
                    <a:pt x="27" y="100"/>
                  </a:cubicBezTo>
                  <a:cubicBezTo>
                    <a:pt x="27" y="128"/>
                    <a:pt x="27" y="128"/>
                    <a:pt x="27" y="128"/>
                  </a:cubicBezTo>
                  <a:cubicBezTo>
                    <a:pt x="23" y="129"/>
                    <a:pt x="23" y="129"/>
                    <a:pt x="23" y="129"/>
                  </a:cubicBezTo>
                  <a:cubicBezTo>
                    <a:pt x="23" y="132"/>
                    <a:pt x="23" y="132"/>
                    <a:pt x="23" y="132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29"/>
                    <a:pt x="38" y="129"/>
                    <a:pt x="38" y="129"/>
                  </a:cubicBezTo>
                  <a:cubicBezTo>
                    <a:pt x="34" y="128"/>
                    <a:pt x="34" y="128"/>
                    <a:pt x="34" y="128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37" y="100"/>
                    <a:pt x="39" y="99"/>
                    <a:pt x="42" y="99"/>
                  </a:cubicBezTo>
                  <a:cubicBezTo>
                    <a:pt x="45" y="99"/>
                    <a:pt x="46" y="101"/>
                    <a:pt x="46" y="106"/>
                  </a:cubicBezTo>
                  <a:cubicBezTo>
                    <a:pt x="46" y="128"/>
                    <a:pt x="46" y="128"/>
                    <a:pt x="46" y="128"/>
                  </a:cubicBezTo>
                  <a:cubicBezTo>
                    <a:pt x="42" y="129"/>
                    <a:pt x="42" y="129"/>
                    <a:pt x="42" y="129"/>
                  </a:cubicBezTo>
                  <a:cubicBezTo>
                    <a:pt x="42" y="132"/>
                    <a:pt x="42" y="132"/>
                    <a:pt x="42" y="132"/>
                  </a:cubicBezTo>
                  <a:cubicBezTo>
                    <a:pt x="57" y="132"/>
                    <a:pt x="57" y="132"/>
                    <a:pt x="57" y="132"/>
                  </a:cubicBezTo>
                  <a:close/>
                  <a:moveTo>
                    <a:pt x="93" y="99"/>
                  </a:moveTo>
                  <a:cubicBezTo>
                    <a:pt x="93" y="95"/>
                    <a:pt x="93" y="95"/>
                    <a:pt x="93" y="95"/>
                  </a:cubicBezTo>
                  <a:cubicBezTo>
                    <a:pt x="87" y="95"/>
                    <a:pt x="87" y="95"/>
                    <a:pt x="87" y="95"/>
                  </a:cubicBezTo>
                  <a:cubicBezTo>
                    <a:pt x="86" y="95"/>
                    <a:pt x="86" y="95"/>
                    <a:pt x="86" y="95"/>
                  </a:cubicBezTo>
                  <a:cubicBezTo>
                    <a:pt x="85" y="95"/>
                    <a:pt x="84" y="95"/>
                    <a:pt x="84" y="95"/>
                  </a:cubicBezTo>
                  <a:cubicBezTo>
                    <a:pt x="84" y="95"/>
                    <a:pt x="82" y="95"/>
                    <a:pt x="81" y="94"/>
                  </a:cubicBezTo>
                  <a:cubicBezTo>
                    <a:pt x="78" y="94"/>
                    <a:pt x="78" y="93"/>
                    <a:pt x="76" y="93"/>
                  </a:cubicBezTo>
                  <a:cubicBezTo>
                    <a:pt x="69" y="93"/>
                    <a:pt x="63" y="99"/>
                    <a:pt x="63" y="106"/>
                  </a:cubicBezTo>
                  <a:cubicBezTo>
                    <a:pt x="63" y="111"/>
                    <a:pt x="65" y="114"/>
                    <a:pt x="70" y="117"/>
                  </a:cubicBezTo>
                  <a:cubicBezTo>
                    <a:pt x="65" y="120"/>
                    <a:pt x="63" y="122"/>
                    <a:pt x="63" y="125"/>
                  </a:cubicBezTo>
                  <a:cubicBezTo>
                    <a:pt x="63" y="127"/>
                    <a:pt x="64" y="129"/>
                    <a:pt x="67" y="130"/>
                  </a:cubicBezTo>
                  <a:cubicBezTo>
                    <a:pt x="62" y="133"/>
                    <a:pt x="61" y="135"/>
                    <a:pt x="61" y="138"/>
                  </a:cubicBezTo>
                  <a:cubicBezTo>
                    <a:pt x="61" y="143"/>
                    <a:pt x="66" y="146"/>
                    <a:pt x="75" y="146"/>
                  </a:cubicBezTo>
                  <a:cubicBezTo>
                    <a:pt x="86" y="146"/>
                    <a:pt x="93" y="141"/>
                    <a:pt x="93" y="132"/>
                  </a:cubicBezTo>
                  <a:cubicBezTo>
                    <a:pt x="93" y="127"/>
                    <a:pt x="90" y="124"/>
                    <a:pt x="82" y="124"/>
                  </a:cubicBezTo>
                  <a:cubicBezTo>
                    <a:pt x="73" y="123"/>
                    <a:pt x="73" y="123"/>
                    <a:pt x="73" y="123"/>
                  </a:cubicBezTo>
                  <a:cubicBezTo>
                    <a:pt x="71" y="123"/>
                    <a:pt x="70" y="123"/>
                    <a:pt x="70" y="122"/>
                  </a:cubicBezTo>
                  <a:cubicBezTo>
                    <a:pt x="70" y="121"/>
                    <a:pt x="71" y="119"/>
                    <a:pt x="73" y="118"/>
                  </a:cubicBezTo>
                  <a:cubicBezTo>
                    <a:pt x="74" y="119"/>
                    <a:pt x="75" y="119"/>
                    <a:pt x="77" y="119"/>
                  </a:cubicBezTo>
                  <a:cubicBezTo>
                    <a:pt x="84" y="119"/>
                    <a:pt x="90" y="114"/>
                    <a:pt x="90" y="107"/>
                  </a:cubicBezTo>
                  <a:cubicBezTo>
                    <a:pt x="90" y="104"/>
                    <a:pt x="89" y="102"/>
                    <a:pt x="87" y="99"/>
                  </a:cubicBezTo>
                  <a:cubicBezTo>
                    <a:pt x="93" y="99"/>
                    <a:pt x="93" y="99"/>
                    <a:pt x="93" y="99"/>
                  </a:cubicBezTo>
                  <a:close/>
                  <a:moveTo>
                    <a:pt x="76" y="97"/>
                  </a:moveTo>
                  <a:cubicBezTo>
                    <a:pt x="80" y="97"/>
                    <a:pt x="82" y="100"/>
                    <a:pt x="82" y="107"/>
                  </a:cubicBezTo>
                  <a:cubicBezTo>
                    <a:pt x="82" y="112"/>
                    <a:pt x="80" y="115"/>
                    <a:pt x="77" y="115"/>
                  </a:cubicBezTo>
                  <a:cubicBezTo>
                    <a:pt x="73" y="115"/>
                    <a:pt x="71" y="112"/>
                    <a:pt x="71" y="106"/>
                  </a:cubicBezTo>
                  <a:cubicBezTo>
                    <a:pt x="71" y="100"/>
                    <a:pt x="73" y="97"/>
                    <a:pt x="76" y="97"/>
                  </a:cubicBezTo>
                  <a:close/>
                  <a:moveTo>
                    <a:pt x="74" y="131"/>
                  </a:moveTo>
                  <a:cubicBezTo>
                    <a:pt x="86" y="131"/>
                    <a:pt x="88" y="132"/>
                    <a:pt x="88" y="135"/>
                  </a:cubicBezTo>
                  <a:cubicBezTo>
                    <a:pt x="88" y="139"/>
                    <a:pt x="83" y="142"/>
                    <a:pt x="76" y="142"/>
                  </a:cubicBezTo>
                  <a:cubicBezTo>
                    <a:pt x="71" y="142"/>
                    <a:pt x="68" y="140"/>
                    <a:pt x="68" y="136"/>
                  </a:cubicBezTo>
                  <a:cubicBezTo>
                    <a:pt x="68" y="134"/>
                    <a:pt x="69" y="132"/>
                    <a:pt x="71" y="131"/>
                  </a:cubicBezTo>
                  <a:cubicBezTo>
                    <a:pt x="74" y="131"/>
                    <a:pt x="74" y="131"/>
                    <a:pt x="74" y="1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6" name="Freeform 6"/>
            <p:cNvSpPr>
              <a:spLocks noEditPoints="1"/>
            </p:cNvSpPr>
            <p:nvPr/>
          </p:nvSpPr>
          <p:spPr bwMode="auto">
            <a:xfrm>
              <a:off x="2103438" y="-793750"/>
              <a:ext cx="547687" cy="547687"/>
            </a:xfrm>
            <a:custGeom>
              <a:avLst/>
              <a:gdLst>
                <a:gd name="T0" fmla="*/ 33 w 146"/>
                <a:gd name="T1" fmla="*/ 134 h 146"/>
                <a:gd name="T2" fmla="*/ 12 w 146"/>
                <a:gd name="T3" fmla="*/ 113 h 146"/>
                <a:gd name="T4" fmla="*/ 0 w 146"/>
                <a:gd name="T5" fmla="*/ 73 h 146"/>
                <a:gd name="T6" fmla="*/ 73 w 146"/>
                <a:gd name="T7" fmla="*/ 0 h 146"/>
                <a:gd name="T8" fmla="*/ 146 w 146"/>
                <a:gd name="T9" fmla="*/ 73 h 146"/>
                <a:gd name="T10" fmla="*/ 130 w 146"/>
                <a:gd name="T11" fmla="*/ 119 h 146"/>
                <a:gd name="T12" fmla="*/ 113 w 146"/>
                <a:gd name="T13" fmla="*/ 134 h 146"/>
                <a:gd name="T14" fmla="*/ 113 w 146"/>
                <a:gd name="T15" fmla="*/ 91 h 146"/>
                <a:gd name="T16" fmla="*/ 121 w 146"/>
                <a:gd name="T17" fmla="*/ 91 h 146"/>
                <a:gd name="T18" fmla="*/ 121 w 146"/>
                <a:gd name="T19" fmla="*/ 121 h 146"/>
                <a:gd name="T20" fmla="*/ 131 w 146"/>
                <a:gd name="T21" fmla="*/ 106 h 146"/>
                <a:gd name="T22" fmla="*/ 139 w 146"/>
                <a:gd name="T23" fmla="*/ 73 h 146"/>
                <a:gd name="T24" fmla="*/ 73 w 146"/>
                <a:gd name="T25" fmla="*/ 6 h 146"/>
                <a:gd name="T26" fmla="*/ 7 w 146"/>
                <a:gd name="T27" fmla="*/ 74 h 146"/>
                <a:gd name="T28" fmla="*/ 26 w 146"/>
                <a:gd name="T29" fmla="*/ 121 h 146"/>
                <a:gd name="T30" fmla="*/ 26 w 146"/>
                <a:gd name="T31" fmla="*/ 91 h 146"/>
                <a:gd name="T32" fmla="*/ 33 w 146"/>
                <a:gd name="T33" fmla="*/ 91 h 146"/>
                <a:gd name="T34" fmla="*/ 33 w 146"/>
                <a:gd name="T35" fmla="*/ 134 h 146"/>
                <a:gd name="T36" fmla="*/ 48 w 146"/>
                <a:gd name="T37" fmla="*/ 142 h 146"/>
                <a:gd name="T38" fmla="*/ 40 w 146"/>
                <a:gd name="T39" fmla="*/ 138 h 146"/>
                <a:gd name="T40" fmla="*/ 40 w 146"/>
                <a:gd name="T41" fmla="*/ 91 h 146"/>
                <a:gd name="T42" fmla="*/ 48 w 146"/>
                <a:gd name="T43" fmla="*/ 91 h 146"/>
                <a:gd name="T44" fmla="*/ 48 w 146"/>
                <a:gd name="T45" fmla="*/ 142 h 146"/>
                <a:gd name="T46" fmla="*/ 62 w 146"/>
                <a:gd name="T47" fmla="*/ 145 h 146"/>
                <a:gd name="T48" fmla="*/ 58 w 146"/>
                <a:gd name="T49" fmla="*/ 145 h 146"/>
                <a:gd name="T50" fmla="*/ 55 w 146"/>
                <a:gd name="T51" fmla="*/ 144 h 146"/>
                <a:gd name="T52" fmla="*/ 55 w 146"/>
                <a:gd name="T53" fmla="*/ 44 h 146"/>
                <a:gd name="T54" fmla="*/ 62 w 146"/>
                <a:gd name="T55" fmla="*/ 44 h 146"/>
                <a:gd name="T56" fmla="*/ 62 w 146"/>
                <a:gd name="T57" fmla="*/ 145 h 146"/>
                <a:gd name="T58" fmla="*/ 77 w 146"/>
                <a:gd name="T59" fmla="*/ 146 h 146"/>
                <a:gd name="T60" fmla="*/ 74 w 146"/>
                <a:gd name="T61" fmla="*/ 146 h 146"/>
                <a:gd name="T62" fmla="*/ 70 w 146"/>
                <a:gd name="T63" fmla="*/ 146 h 146"/>
                <a:gd name="T64" fmla="*/ 70 w 146"/>
                <a:gd name="T65" fmla="*/ 44 h 146"/>
                <a:gd name="T66" fmla="*/ 77 w 146"/>
                <a:gd name="T67" fmla="*/ 44 h 146"/>
                <a:gd name="T68" fmla="*/ 77 w 146"/>
                <a:gd name="T69" fmla="*/ 146 h 146"/>
                <a:gd name="T70" fmla="*/ 91 w 146"/>
                <a:gd name="T71" fmla="*/ 144 h 146"/>
                <a:gd name="T72" fmla="*/ 84 w 146"/>
                <a:gd name="T73" fmla="*/ 146 h 146"/>
                <a:gd name="T74" fmla="*/ 84 w 146"/>
                <a:gd name="T75" fmla="*/ 44 h 146"/>
                <a:gd name="T76" fmla="*/ 91 w 146"/>
                <a:gd name="T77" fmla="*/ 44 h 146"/>
                <a:gd name="T78" fmla="*/ 91 w 146"/>
                <a:gd name="T79" fmla="*/ 144 h 146"/>
                <a:gd name="T80" fmla="*/ 91 w 146"/>
                <a:gd name="T81" fmla="*/ 39 h 146"/>
                <a:gd name="T82" fmla="*/ 73 w 146"/>
                <a:gd name="T83" fmla="*/ 24 h 146"/>
                <a:gd name="T84" fmla="*/ 55 w 146"/>
                <a:gd name="T85" fmla="*/ 39 h 146"/>
                <a:gd name="T86" fmla="*/ 51 w 146"/>
                <a:gd name="T87" fmla="*/ 33 h 146"/>
                <a:gd name="T88" fmla="*/ 73 w 146"/>
                <a:gd name="T89" fmla="*/ 16 h 146"/>
                <a:gd name="T90" fmla="*/ 95 w 146"/>
                <a:gd name="T91" fmla="*/ 33 h 146"/>
                <a:gd name="T92" fmla="*/ 91 w 146"/>
                <a:gd name="T93" fmla="*/ 39 h 146"/>
                <a:gd name="T94" fmla="*/ 106 w 146"/>
                <a:gd name="T95" fmla="*/ 138 h 146"/>
                <a:gd name="T96" fmla="*/ 99 w 146"/>
                <a:gd name="T97" fmla="*/ 142 h 146"/>
                <a:gd name="T98" fmla="*/ 99 w 146"/>
                <a:gd name="T99" fmla="*/ 91 h 146"/>
                <a:gd name="T100" fmla="*/ 106 w 146"/>
                <a:gd name="T101" fmla="*/ 91 h 146"/>
                <a:gd name="T102" fmla="*/ 106 w 146"/>
                <a:gd name="T103" fmla="*/ 13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6" h="146">
                  <a:moveTo>
                    <a:pt x="33" y="134"/>
                  </a:moveTo>
                  <a:cubicBezTo>
                    <a:pt x="23" y="127"/>
                    <a:pt x="17" y="121"/>
                    <a:pt x="12" y="113"/>
                  </a:cubicBezTo>
                  <a:cubicBezTo>
                    <a:pt x="4" y="101"/>
                    <a:pt x="0" y="87"/>
                    <a:pt x="0" y="73"/>
                  </a:cubicBez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6" y="33"/>
                    <a:pt x="146" y="73"/>
                  </a:cubicBezTo>
                  <a:cubicBezTo>
                    <a:pt x="146" y="90"/>
                    <a:pt x="140" y="106"/>
                    <a:pt x="130" y="119"/>
                  </a:cubicBezTo>
                  <a:cubicBezTo>
                    <a:pt x="126" y="124"/>
                    <a:pt x="123" y="127"/>
                    <a:pt x="113" y="134"/>
                  </a:cubicBezTo>
                  <a:cubicBezTo>
                    <a:pt x="113" y="91"/>
                    <a:pt x="113" y="91"/>
                    <a:pt x="113" y="91"/>
                  </a:cubicBezTo>
                  <a:cubicBezTo>
                    <a:pt x="121" y="91"/>
                    <a:pt x="121" y="91"/>
                    <a:pt x="121" y="9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6" y="114"/>
                    <a:pt x="128" y="110"/>
                    <a:pt x="131" y="106"/>
                  </a:cubicBezTo>
                  <a:cubicBezTo>
                    <a:pt x="136" y="96"/>
                    <a:pt x="139" y="85"/>
                    <a:pt x="139" y="73"/>
                  </a:cubicBezTo>
                  <a:cubicBezTo>
                    <a:pt x="139" y="36"/>
                    <a:pt x="110" y="6"/>
                    <a:pt x="73" y="6"/>
                  </a:cubicBezTo>
                  <a:cubicBezTo>
                    <a:pt x="36" y="6"/>
                    <a:pt x="7" y="36"/>
                    <a:pt x="7" y="74"/>
                  </a:cubicBezTo>
                  <a:cubicBezTo>
                    <a:pt x="7" y="91"/>
                    <a:pt x="13" y="106"/>
                    <a:pt x="26" y="121"/>
                  </a:cubicBezTo>
                  <a:cubicBezTo>
                    <a:pt x="26" y="91"/>
                    <a:pt x="26" y="91"/>
                    <a:pt x="26" y="91"/>
                  </a:cubicBezTo>
                  <a:cubicBezTo>
                    <a:pt x="33" y="91"/>
                    <a:pt x="33" y="91"/>
                    <a:pt x="33" y="91"/>
                  </a:cubicBezTo>
                  <a:cubicBezTo>
                    <a:pt x="33" y="134"/>
                    <a:pt x="33" y="134"/>
                    <a:pt x="33" y="134"/>
                  </a:cubicBezTo>
                  <a:close/>
                  <a:moveTo>
                    <a:pt x="48" y="142"/>
                  </a:moveTo>
                  <a:cubicBezTo>
                    <a:pt x="46" y="141"/>
                    <a:pt x="43" y="140"/>
                    <a:pt x="40" y="138"/>
                  </a:cubicBezTo>
                  <a:cubicBezTo>
                    <a:pt x="40" y="91"/>
                    <a:pt x="40" y="91"/>
                    <a:pt x="40" y="91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48" y="142"/>
                    <a:pt x="48" y="142"/>
                    <a:pt x="48" y="142"/>
                  </a:cubicBezTo>
                  <a:close/>
                  <a:moveTo>
                    <a:pt x="62" y="145"/>
                  </a:moveTo>
                  <a:cubicBezTo>
                    <a:pt x="60" y="145"/>
                    <a:pt x="59" y="145"/>
                    <a:pt x="58" y="145"/>
                  </a:cubicBezTo>
                  <a:cubicBezTo>
                    <a:pt x="58" y="144"/>
                    <a:pt x="57" y="144"/>
                    <a:pt x="55" y="1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145"/>
                    <a:pt x="62" y="145"/>
                    <a:pt x="62" y="145"/>
                  </a:cubicBezTo>
                  <a:close/>
                  <a:moveTo>
                    <a:pt x="77" y="146"/>
                  </a:moveTo>
                  <a:cubicBezTo>
                    <a:pt x="76" y="146"/>
                    <a:pt x="75" y="146"/>
                    <a:pt x="74" y="146"/>
                  </a:cubicBezTo>
                  <a:cubicBezTo>
                    <a:pt x="72" y="146"/>
                    <a:pt x="71" y="146"/>
                    <a:pt x="70" y="146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146"/>
                    <a:pt x="77" y="146"/>
                    <a:pt x="77" y="146"/>
                  </a:cubicBezTo>
                  <a:close/>
                  <a:moveTo>
                    <a:pt x="91" y="144"/>
                  </a:moveTo>
                  <a:cubicBezTo>
                    <a:pt x="89" y="144"/>
                    <a:pt x="87" y="145"/>
                    <a:pt x="84" y="146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91" y="144"/>
                    <a:pt x="91" y="144"/>
                    <a:pt x="91" y="144"/>
                  </a:cubicBezTo>
                  <a:close/>
                  <a:moveTo>
                    <a:pt x="91" y="39"/>
                  </a:moveTo>
                  <a:cubicBezTo>
                    <a:pt x="73" y="24"/>
                    <a:pt x="73" y="24"/>
                    <a:pt x="73" y="24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1" y="39"/>
                    <a:pt x="91" y="39"/>
                    <a:pt x="91" y="39"/>
                  </a:cubicBezTo>
                  <a:close/>
                  <a:moveTo>
                    <a:pt x="106" y="138"/>
                  </a:moveTo>
                  <a:cubicBezTo>
                    <a:pt x="104" y="139"/>
                    <a:pt x="102" y="140"/>
                    <a:pt x="99" y="142"/>
                  </a:cubicBezTo>
                  <a:cubicBezTo>
                    <a:pt x="99" y="91"/>
                    <a:pt x="99" y="91"/>
                    <a:pt x="99" y="91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6" y="138"/>
                    <a:pt x="106" y="138"/>
                    <a:pt x="106" y="1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3124200" y="-779463"/>
              <a:ext cx="449262" cy="509587"/>
            </a:xfrm>
            <a:custGeom>
              <a:avLst/>
              <a:gdLst>
                <a:gd name="T0" fmla="*/ 14 w 120"/>
                <a:gd name="T1" fmla="*/ 100 h 136"/>
                <a:gd name="T2" fmla="*/ 7 w 120"/>
                <a:gd name="T3" fmla="*/ 112 h 136"/>
                <a:gd name="T4" fmla="*/ 48 w 120"/>
                <a:gd name="T5" fmla="*/ 53 h 136"/>
                <a:gd name="T6" fmla="*/ 44 w 120"/>
                <a:gd name="T7" fmla="*/ 29 h 136"/>
                <a:gd name="T8" fmla="*/ 25 w 120"/>
                <a:gd name="T9" fmla="*/ 23 h 136"/>
                <a:gd name="T10" fmla="*/ 23 w 120"/>
                <a:gd name="T11" fmla="*/ 0 h 136"/>
                <a:gd name="T12" fmla="*/ 13 w 120"/>
                <a:gd name="T13" fmla="*/ 5 h 136"/>
                <a:gd name="T14" fmla="*/ 18 w 120"/>
                <a:gd name="T15" fmla="*/ 52 h 136"/>
                <a:gd name="T16" fmla="*/ 13 w 120"/>
                <a:gd name="T17" fmla="*/ 56 h 136"/>
                <a:gd name="T18" fmla="*/ 29 w 120"/>
                <a:gd name="T19" fmla="*/ 53 h 136"/>
                <a:gd name="T20" fmla="*/ 25 w 120"/>
                <a:gd name="T21" fmla="*/ 28 h 136"/>
                <a:gd name="T22" fmla="*/ 36 w 120"/>
                <a:gd name="T23" fmla="*/ 32 h 136"/>
                <a:gd name="T24" fmla="*/ 33 w 120"/>
                <a:gd name="T25" fmla="*/ 53 h 136"/>
                <a:gd name="T26" fmla="*/ 48 w 120"/>
                <a:gd name="T27" fmla="*/ 56 h 136"/>
                <a:gd name="T28" fmla="*/ 62 w 120"/>
                <a:gd name="T29" fmla="*/ 18 h 136"/>
                <a:gd name="T30" fmla="*/ 53 w 120"/>
                <a:gd name="T31" fmla="*/ 23 h 136"/>
                <a:gd name="T32" fmla="*/ 58 w 120"/>
                <a:gd name="T33" fmla="*/ 52 h 136"/>
                <a:gd name="T34" fmla="*/ 53 w 120"/>
                <a:gd name="T35" fmla="*/ 56 h 136"/>
                <a:gd name="T36" fmla="*/ 70 w 120"/>
                <a:gd name="T37" fmla="*/ 53 h 136"/>
                <a:gd name="T38" fmla="*/ 65 w 120"/>
                <a:gd name="T39" fmla="*/ 32 h 136"/>
                <a:gd name="T40" fmla="*/ 74 w 120"/>
                <a:gd name="T41" fmla="*/ 28 h 136"/>
                <a:gd name="T42" fmla="*/ 72 w 120"/>
                <a:gd name="T43" fmla="*/ 19 h 136"/>
                <a:gd name="T44" fmla="*/ 65 w 120"/>
                <a:gd name="T45" fmla="*/ 18 h 136"/>
                <a:gd name="T46" fmla="*/ 83 w 120"/>
                <a:gd name="T47" fmla="*/ 5 h 136"/>
                <a:gd name="T48" fmla="*/ 92 w 120"/>
                <a:gd name="T49" fmla="*/ 5 h 136"/>
                <a:gd name="T50" fmla="*/ 96 w 120"/>
                <a:gd name="T51" fmla="*/ 56 h 136"/>
                <a:gd name="T52" fmla="*/ 92 w 120"/>
                <a:gd name="T53" fmla="*/ 52 h 136"/>
                <a:gd name="T54" fmla="*/ 90 w 120"/>
                <a:gd name="T55" fmla="*/ 19 h 136"/>
                <a:gd name="T56" fmla="*/ 80 w 120"/>
                <a:gd name="T57" fmla="*/ 24 h 136"/>
                <a:gd name="T58" fmla="*/ 84 w 120"/>
                <a:gd name="T59" fmla="*/ 52 h 136"/>
                <a:gd name="T60" fmla="*/ 80 w 120"/>
                <a:gd name="T61" fmla="*/ 56 h 136"/>
                <a:gd name="T62" fmla="*/ 27 w 120"/>
                <a:gd name="T63" fmla="*/ 115 h 136"/>
                <a:gd name="T64" fmla="*/ 14 w 120"/>
                <a:gd name="T65" fmla="*/ 97 h 136"/>
                <a:gd name="T66" fmla="*/ 14 w 120"/>
                <a:gd name="T67" fmla="*/ 136 h 136"/>
                <a:gd name="T68" fmla="*/ 23 w 120"/>
                <a:gd name="T69" fmla="*/ 125 h 136"/>
                <a:gd name="T70" fmla="*/ 7 w 120"/>
                <a:gd name="T71" fmla="*/ 115 h 136"/>
                <a:gd name="T72" fmla="*/ 47 w 120"/>
                <a:gd name="T73" fmla="*/ 135 h 136"/>
                <a:gd name="T74" fmla="*/ 43 w 120"/>
                <a:gd name="T75" fmla="*/ 131 h 136"/>
                <a:gd name="T76" fmla="*/ 41 w 120"/>
                <a:gd name="T77" fmla="*/ 78 h 136"/>
                <a:gd name="T78" fmla="*/ 31 w 120"/>
                <a:gd name="T79" fmla="*/ 83 h 136"/>
                <a:gd name="T80" fmla="*/ 36 w 120"/>
                <a:gd name="T81" fmla="*/ 131 h 136"/>
                <a:gd name="T82" fmla="*/ 31 w 120"/>
                <a:gd name="T83" fmla="*/ 135 h 136"/>
                <a:gd name="T84" fmla="*/ 87 w 120"/>
                <a:gd name="T85" fmla="*/ 135 h 136"/>
                <a:gd name="T86" fmla="*/ 83 w 120"/>
                <a:gd name="T87" fmla="*/ 131 h 136"/>
                <a:gd name="T88" fmla="*/ 74 w 120"/>
                <a:gd name="T89" fmla="*/ 97 h 136"/>
                <a:gd name="T90" fmla="*/ 64 w 120"/>
                <a:gd name="T91" fmla="*/ 78 h 136"/>
                <a:gd name="T92" fmla="*/ 53 w 120"/>
                <a:gd name="T93" fmla="*/ 81 h 136"/>
                <a:gd name="T94" fmla="*/ 57 w 120"/>
                <a:gd name="T95" fmla="*/ 84 h 136"/>
                <a:gd name="T96" fmla="*/ 52 w 120"/>
                <a:gd name="T97" fmla="*/ 132 h 136"/>
                <a:gd name="T98" fmla="*/ 68 w 120"/>
                <a:gd name="T99" fmla="*/ 135 h 136"/>
                <a:gd name="T100" fmla="*/ 64 w 120"/>
                <a:gd name="T101" fmla="*/ 131 h 136"/>
                <a:gd name="T102" fmla="*/ 71 w 120"/>
                <a:gd name="T103" fmla="*/ 103 h 136"/>
                <a:gd name="T104" fmla="*/ 76 w 120"/>
                <a:gd name="T105" fmla="*/ 131 h 136"/>
                <a:gd name="T106" fmla="*/ 72 w 120"/>
                <a:gd name="T107" fmla="*/ 135 h 136"/>
                <a:gd name="T108" fmla="*/ 120 w 120"/>
                <a:gd name="T109" fmla="*/ 115 h 136"/>
                <a:gd name="T110" fmla="*/ 107 w 120"/>
                <a:gd name="T111" fmla="*/ 97 h 136"/>
                <a:gd name="T112" fmla="*/ 107 w 120"/>
                <a:gd name="T113" fmla="*/ 136 h 136"/>
                <a:gd name="T114" fmla="*/ 116 w 120"/>
                <a:gd name="T115" fmla="*/ 125 h 136"/>
                <a:gd name="T116" fmla="*/ 100 w 120"/>
                <a:gd name="T117" fmla="*/ 115 h 136"/>
                <a:gd name="T118" fmla="*/ 100 w 120"/>
                <a:gd name="T119" fmla="*/ 112 h 136"/>
                <a:gd name="T120" fmla="*/ 112 w 120"/>
                <a:gd name="T121" fmla="*/ 11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" h="136">
                  <a:moveTo>
                    <a:pt x="7" y="112"/>
                  </a:moveTo>
                  <a:cubicBezTo>
                    <a:pt x="8" y="104"/>
                    <a:pt x="10" y="100"/>
                    <a:pt x="14" y="100"/>
                  </a:cubicBezTo>
                  <a:cubicBezTo>
                    <a:pt x="17" y="100"/>
                    <a:pt x="19" y="104"/>
                    <a:pt x="19" y="112"/>
                  </a:cubicBezTo>
                  <a:cubicBezTo>
                    <a:pt x="7" y="112"/>
                    <a:pt x="7" y="112"/>
                    <a:pt x="7" y="112"/>
                  </a:cubicBezTo>
                  <a:close/>
                  <a:moveTo>
                    <a:pt x="48" y="56"/>
                  </a:moveTo>
                  <a:cubicBezTo>
                    <a:pt x="48" y="53"/>
                    <a:pt x="48" y="53"/>
                    <a:pt x="48" y="53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2"/>
                    <a:pt x="41" y="19"/>
                    <a:pt x="35" y="19"/>
                  </a:cubicBezTo>
                  <a:cubicBezTo>
                    <a:pt x="32" y="19"/>
                    <a:pt x="29" y="20"/>
                    <a:pt x="25" y="2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8" y="25"/>
                    <a:pt x="30" y="24"/>
                    <a:pt x="32" y="24"/>
                  </a:cubicBezTo>
                  <a:cubicBezTo>
                    <a:pt x="35" y="24"/>
                    <a:pt x="36" y="26"/>
                    <a:pt x="36" y="32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48" y="56"/>
                    <a:pt x="48" y="56"/>
                    <a:pt x="48" y="56"/>
                  </a:cubicBezTo>
                  <a:close/>
                  <a:moveTo>
                    <a:pt x="65" y="18"/>
                  </a:moveTo>
                  <a:cubicBezTo>
                    <a:pt x="62" y="18"/>
                    <a:pt x="62" y="18"/>
                    <a:pt x="62" y="18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5" y="30"/>
                    <a:pt x="67" y="27"/>
                    <a:pt x="70" y="26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6" y="26"/>
                    <a:pt x="76" y="25"/>
                    <a:pt x="76" y="23"/>
                  </a:cubicBezTo>
                  <a:cubicBezTo>
                    <a:pt x="76" y="21"/>
                    <a:pt x="75" y="19"/>
                    <a:pt x="72" y="19"/>
                  </a:cubicBezTo>
                  <a:cubicBezTo>
                    <a:pt x="69" y="19"/>
                    <a:pt x="68" y="20"/>
                    <a:pt x="65" y="26"/>
                  </a:cubicBezTo>
                  <a:cubicBezTo>
                    <a:pt x="65" y="18"/>
                    <a:pt x="65" y="18"/>
                    <a:pt x="65" y="18"/>
                  </a:cubicBezTo>
                  <a:close/>
                  <a:moveTo>
                    <a:pt x="88" y="0"/>
                  </a:moveTo>
                  <a:cubicBezTo>
                    <a:pt x="85" y="0"/>
                    <a:pt x="83" y="2"/>
                    <a:pt x="83" y="5"/>
                  </a:cubicBezTo>
                  <a:cubicBezTo>
                    <a:pt x="83" y="8"/>
                    <a:pt x="85" y="10"/>
                    <a:pt x="88" y="10"/>
                  </a:cubicBezTo>
                  <a:cubicBezTo>
                    <a:pt x="90" y="10"/>
                    <a:pt x="92" y="8"/>
                    <a:pt x="92" y="5"/>
                  </a:cubicBezTo>
                  <a:cubicBezTo>
                    <a:pt x="92" y="2"/>
                    <a:pt x="90" y="0"/>
                    <a:pt x="88" y="0"/>
                  </a:cubicBezTo>
                  <a:close/>
                  <a:moveTo>
                    <a:pt x="96" y="56"/>
                  </a:moveTo>
                  <a:cubicBezTo>
                    <a:pt x="96" y="53"/>
                    <a:pt x="96" y="53"/>
                    <a:pt x="96" y="53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19"/>
                    <a:pt x="92" y="19"/>
                    <a:pt x="92" y="19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80" y="21"/>
                    <a:pt x="80" y="21"/>
                    <a:pt x="80" y="21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0" y="53"/>
                    <a:pt x="80" y="53"/>
                    <a:pt x="80" y="53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96" y="56"/>
                    <a:pt x="96" y="56"/>
                    <a:pt x="96" y="56"/>
                  </a:cubicBezTo>
                  <a:close/>
                  <a:moveTo>
                    <a:pt x="27" y="115"/>
                  </a:moveTo>
                  <a:cubicBezTo>
                    <a:pt x="27" y="110"/>
                    <a:pt x="26" y="108"/>
                    <a:pt x="26" y="106"/>
                  </a:cubicBezTo>
                  <a:cubicBezTo>
                    <a:pt x="24" y="100"/>
                    <a:pt x="20" y="97"/>
                    <a:pt x="14" y="97"/>
                  </a:cubicBezTo>
                  <a:cubicBezTo>
                    <a:pt x="5" y="97"/>
                    <a:pt x="0" y="104"/>
                    <a:pt x="0" y="117"/>
                  </a:cubicBezTo>
                  <a:cubicBezTo>
                    <a:pt x="0" y="129"/>
                    <a:pt x="5" y="136"/>
                    <a:pt x="14" y="136"/>
                  </a:cubicBezTo>
                  <a:cubicBezTo>
                    <a:pt x="20" y="136"/>
                    <a:pt x="23" y="133"/>
                    <a:pt x="27" y="127"/>
                  </a:cubicBezTo>
                  <a:cubicBezTo>
                    <a:pt x="23" y="125"/>
                    <a:pt x="23" y="125"/>
                    <a:pt x="23" y="125"/>
                  </a:cubicBezTo>
                  <a:cubicBezTo>
                    <a:pt x="21" y="129"/>
                    <a:pt x="19" y="130"/>
                    <a:pt x="16" y="130"/>
                  </a:cubicBezTo>
                  <a:cubicBezTo>
                    <a:pt x="11" y="130"/>
                    <a:pt x="8" y="126"/>
                    <a:pt x="7" y="115"/>
                  </a:cubicBezTo>
                  <a:cubicBezTo>
                    <a:pt x="27" y="115"/>
                    <a:pt x="27" y="115"/>
                    <a:pt x="27" y="115"/>
                  </a:cubicBezTo>
                  <a:close/>
                  <a:moveTo>
                    <a:pt x="47" y="135"/>
                  </a:moveTo>
                  <a:cubicBezTo>
                    <a:pt x="47" y="132"/>
                    <a:pt x="47" y="132"/>
                    <a:pt x="47" y="132"/>
                  </a:cubicBezTo>
                  <a:cubicBezTo>
                    <a:pt x="43" y="131"/>
                    <a:pt x="43" y="131"/>
                    <a:pt x="43" y="131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6" y="131"/>
                    <a:pt x="36" y="131"/>
                    <a:pt x="36" y="131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31" y="135"/>
                    <a:pt x="31" y="135"/>
                    <a:pt x="31" y="135"/>
                  </a:cubicBezTo>
                  <a:cubicBezTo>
                    <a:pt x="47" y="135"/>
                    <a:pt x="47" y="135"/>
                    <a:pt x="47" y="135"/>
                  </a:cubicBezTo>
                  <a:close/>
                  <a:moveTo>
                    <a:pt x="87" y="135"/>
                  </a:moveTo>
                  <a:cubicBezTo>
                    <a:pt x="87" y="132"/>
                    <a:pt x="87" y="132"/>
                    <a:pt x="87" y="132"/>
                  </a:cubicBezTo>
                  <a:cubicBezTo>
                    <a:pt x="83" y="131"/>
                    <a:pt x="83" y="131"/>
                    <a:pt x="83" y="131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83" y="101"/>
                    <a:pt x="80" y="97"/>
                    <a:pt x="74" y="97"/>
                  </a:cubicBezTo>
                  <a:cubicBezTo>
                    <a:pt x="71" y="97"/>
                    <a:pt x="68" y="98"/>
                    <a:pt x="64" y="102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131"/>
                    <a:pt x="57" y="131"/>
                    <a:pt x="57" y="131"/>
                  </a:cubicBezTo>
                  <a:cubicBezTo>
                    <a:pt x="52" y="132"/>
                    <a:pt x="52" y="132"/>
                    <a:pt x="52" y="132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8" y="132"/>
                    <a:pt x="68" y="132"/>
                    <a:pt x="68" y="132"/>
                  </a:cubicBezTo>
                  <a:cubicBezTo>
                    <a:pt x="64" y="131"/>
                    <a:pt x="64" y="131"/>
                    <a:pt x="64" y="131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7" y="104"/>
                    <a:pt x="69" y="103"/>
                    <a:pt x="71" y="103"/>
                  </a:cubicBezTo>
                  <a:cubicBezTo>
                    <a:pt x="74" y="103"/>
                    <a:pt x="76" y="105"/>
                    <a:pt x="76" y="110"/>
                  </a:cubicBezTo>
                  <a:cubicBezTo>
                    <a:pt x="76" y="131"/>
                    <a:pt x="76" y="131"/>
                    <a:pt x="76" y="131"/>
                  </a:cubicBezTo>
                  <a:cubicBezTo>
                    <a:pt x="72" y="132"/>
                    <a:pt x="72" y="132"/>
                    <a:pt x="72" y="132"/>
                  </a:cubicBezTo>
                  <a:cubicBezTo>
                    <a:pt x="72" y="135"/>
                    <a:pt x="72" y="135"/>
                    <a:pt x="72" y="135"/>
                  </a:cubicBezTo>
                  <a:cubicBezTo>
                    <a:pt x="87" y="135"/>
                    <a:pt x="87" y="135"/>
                    <a:pt x="87" y="135"/>
                  </a:cubicBezTo>
                  <a:close/>
                  <a:moveTo>
                    <a:pt x="120" y="115"/>
                  </a:moveTo>
                  <a:cubicBezTo>
                    <a:pt x="119" y="110"/>
                    <a:pt x="119" y="108"/>
                    <a:pt x="119" y="106"/>
                  </a:cubicBezTo>
                  <a:cubicBezTo>
                    <a:pt x="117" y="100"/>
                    <a:pt x="113" y="97"/>
                    <a:pt x="107" y="97"/>
                  </a:cubicBezTo>
                  <a:cubicBezTo>
                    <a:pt x="98" y="97"/>
                    <a:pt x="92" y="104"/>
                    <a:pt x="92" y="117"/>
                  </a:cubicBezTo>
                  <a:cubicBezTo>
                    <a:pt x="92" y="129"/>
                    <a:pt x="98" y="136"/>
                    <a:pt x="107" y="136"/>
                  </a:cubicBezTo>
                  <a:cubicBezTo>
                    <a:pt x="113" y="136"/>
                    <a:pt x="116" y="133"/>
                    <a:pt x="120" y="127"/>
                  </a:cubicBezTo>
                  <a:cubicBezTo>
                    <a:pt x="116" y="125"/>
                    <a:pt x="116" y="125"/>
                    <a:pt x="116" y="125"/>
                  </a:cubicBezTo>
                  <a:cubicBezTo>
                    <a:pt x="114" y="129"/>
                    <a:pt x="112" y="130"/>
                    <a:pt x="109" y="130"/>
                  </a:cubicBezTo>
                  <a:cubicBezTo>
                    <a:pt x="103" y="130"/>
                    <a:pt x="101" y="126"/>
                    <a:pt x="100" y="115"/>
                  </a:cubicBezTo>
                  <a:cubicBezTo>
                    <a:pt x="120" y="115"/>
                    <a:pt x="120" y="115"/>
                    <a:pt x="120" y="115"/>
                  </a:cubicBezTo>
                  <a:close/>
                  <a:moveTo>
                    <a:pt x="100" y="112"/>
                  </a:moveTo>
                  <a:cubicBezTo>
                    <a:pt x="101" y="104"/>
                    <a:pt x="103" y="100"/>
                    <a:pt x="106" y="100"/>
                  </a:cubicBezTo>
                  <a:cubicBezTo>
                    <a:pt x="110" y="100"/>
                    <a:pt x="112" y="104"/>
                    <a:pt x="112" y="112"/>
                  </a:cubicBezTo>
                  <a:cubicBezTo>
                    <a:pt x="100" y="112"/>
                    <a:pt x="100" y="112"/>
                    <a:pt x="100" y="1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3506788" y="-711200"/>
              <a:ext cx="490537" cy="438150"/>
            </a:xfrm>
            <a:custGeom>
              <a:avLst/>
              <a:gdLst>
                <a:gd name="T0" fmla="*/ 53 w 131"/>
                <a:gd name="T1" fmla="*/ 22 h 117"/>
                <a:gd name="T2" fmla="*/ 34 w 131"/>
                <a:gd name="T3" fmla="*/ 38 h 117"/>
                <a:gd name="T4" fmla="*/ 30 w 131"/>
                <a:gd name="T5" fmla="*/ 10 h 117"/>
                <a:gd name="T6" fmla="*/ 11 w 131"/>
                <a:gd name="T7" fmla="*/ 0 h 117"/>
                <a:gd name="T8" fmla="*/ 0 w 131"/>
                <a:gd name="T9" fmla="*/ 6 h 117"/>
                <a:gd name="T10" fmla="*/ 0 w 131"/>
                <a:gd name="T11" fmla="*/ 35 h 117"/>
                <a:gd name="T12" fmla="*/ 15 w 131"/>
                <a:gd name="T13" fmla="*/ 35 h 117"/>
                <a:gd name="T14" fmla="*/ 19 w 131"/>
                <a:gd name="T15" fmla="*/ 6 h 117"/>
                <a:gd name="T16" fmla="*/ 19 w 131"/>
                <a:gd name="T17" fmla="*/ 35 h 117"/>
                <a:gd name="T18" fmla="*/ 70 w 131"/>
                <a:gd name="T19" fmla="*/ 6 h 117"/>
                <a:gd name="T20" fmla="*/ 63 w 131"/>
                <a:gd name="T21" fmla="*/ 1 h 117"/>
                <a:gd name="T22" fmla="*/ 53 w 131"/>
                <a:gd name="T23" fmla="*/ 0 h 117"/>
                <a:gd name="T24" fmla="*/ 39 w 131"/>
                <a:gd name="T25" fmla="*/ 31 h 117"/>
                <a:gd name="T26" fmla="*/ 51 w 131"/>
                <a:gd name="T27" fmla="*/ 52 h 117"/>
                <a:gd name="T28" fmla="*/ 50 w 131"/>
                <a:gd name="T29" fmla="*/ 30 h 117"/>
                <a:gd name="T30" fmla="*/ 54 w 131"/>
                <a:gd name="T31" fmla="*/ 25 h 117"/>
                <a:gd name="T32" fmla="*/ 70 w 131"/>
                <a:gd name="T33" fmla="*/ 6 h 117"/>
                <a:gd name="T34" fmla="*/ 53 w 131"/>
                <a:gd name="T35" fmla="*/ 48 h 117"/>
                <a:gd name="T36" fmla="*/ 102 w 131"/>
                <a:gd name="T37" fmla="*/ 19 h 117"/>
                <a:gd name="T38" fmla="*/ 89 w 131"/>
                <a:gd name="T39" fmla="*/ 39 h 117"/>
                <a:gd name="T40" fmla="*/ 91 w 131"/>
                <a:gd name="T41" fmla="*/ 34 h 117"/>
                <a:gd name="T42" fmla="*/ 82 w 131"/>
                <a:gd name="T43" fmla="*/ 15 h 117"/>
                <a:gd name="T44" fmla="*/ 82 w 131"/>
                <a:gd name="T45" fmla="*/ 15 h 117"/>
                <a:gd name="T46" fmla="*/ 108 w 131"/>
                <a:gd name="T47" fmla="*/ 3 h 117"/>
                <a:gd name="T48" fmla="*/ 112 w 131"/>
                <a:gd name="T49" fmla="*/ 34 h 117"/>
                <a:gd name="T50" fmla="*/ 125 w 131"/>
                <a:gd name="T51" fmla="*/ 38 h 117"/>
                <a:gd name="T52" fmla="*/ 120 w 131"/>
                <a:gd name="T53" fmla="*/ 14 h 117"/>
                <a:gd name="T54" fmla="*/ 131 w 131"/>
                <a:gd name="T55" fmla="*/ 5 h 117"/>
                <a:gd name="T56" fmla="*/ 120 w 131"/>
                <a:gd name="T57" fmla="*/ 0 h 117"/>
                <a:gd name="T58" fmla="*/ 31 w 131"/>
                <a:gd name="T59" fmla="*/ 70 h 117"/>
                <a:gd name="T60" fmla="*/ 39 w 131"/>
                <a:gd name="T61" fmla="*/ 117 h 117"/>
                <a:gd name="T62" fmla="*/ 35 w 131"/>
                <a:gd name="T63" fmla="*/ 79 h 117"/>
                <a:gd name="T64" fmla="*/ 24 w 131"/>
                <a:gd name="T65" fmla="*/ 84 h 117"/>
                <a:gd name="T66" fmla="*/ 24 w 131"/>
                <a:gd name="T67" fmla="*/ 114 h 117"/>
                <a:gd name="T68" fmla="*/ 100 w 131"/>
                <a:gd name="T69" fmla="*/ 114 h 117"/>
                <a:gd name="T70" fmla="*/ 86 w 131"/>
                <a:gd name="T71" fmla="*/ 79 h 117"/>
                <a:gd name="T72" fmla="*/ 56 w 131"/>
                <a:gd name="T73" fmla="*/ 84 h 117"/>
                <a:gd name="T74" fmla="*/ 45 w 131"/>
                <a:gd name="T75" fmla="*/ 81 h 117"/>
                <a:gd name="T76" fmla="*/ 49 w 131"/>
                <a:gd name="T77" fmla="*/ 113 h 117"/>
                <a:gd name="T78" fmla="*/ 60 w 131"/>
                <a:gd name="T79" fmla="*/ 117 h 117"/>
                <a:gd name="T80" fmla="*/ 57 w 131"/>
                <a:gd name="T81" fmla="*/ 88 h 117"/>
                <a:gd name="T82" fmla="*/ 69 w 131"/>
                <a:gd name="T83" fmla="*/ 113 h 117"/>
                <a:gd name="T84" fmla="*/ 80 w 131"/>
                <a:gd name="T85" fmla="*/ 117 h 117"/>
                <a:gd name="T86" fmla="*/ 76 w 131"/>
                <a:gd name="T87" fmla="*/ 88 h 117"/>
                <a:gd name="T88" fmla="*/ 88 w 131"/>
                <a:gd name="T89" fmla="*/ 113 h 117"/>
                <a:gd name="T90" fmla="*/ 100 w 131"/>
                <a:gd name="T91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1" h="117">
                  <a:moveTo>
                    <a:pt x="53" y="3"/>
                  </a:moveTo>
                  <a:cubicBezTo>
                    <a:pt x="57" y="3"/>
                    <a:pt x="59" y="6"/>
                    <a:pt x="59" y="13"/>
                  </a:cubicBezTo>
                  <a:cubicBezTo>
                    <a:pt x="59" y="19"/>
                    <a:pt x="57" y="22"/>
                    <a:pt x="53" y="22"/>
                  </a:cubicBezTo>
                  <a:cubicBezTo>
                    <a:pt x="50" y="22"/>
                    <a:pt x="48" y="19"/>
                    <a:pt x="48" y="12"/>
                  </a:cubicBezTo>
                  <a:cubicBezTo>
                    <a:pt x="48" y="6"/>
                    <a:pt x="50" y="3"/>
                    <a:pt x="53" y="3"/>
                  </a:cubicBezTo>
                  <a:close/>
                  <a:moveTo>
                    <a:pt x="34" y="38"/>
                  </a:moveTo>
                  <a:cubicBezTo>
                    <a:pt x="34" y="35"/>
                    <a:pt x="34" y="35"/>
                    <a:pt x="34" y="35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4"/>
                    <a:pt x="27" y="0"/>
                    <a:pt x="21" y="0"/>
                  </a:cubicBezTo>
                  <a:cubicBezTo>
                    <a:pt x="18" y="0"/>
                    <a:pt x="16" y="1"/>
                    <a:pt x="11" y="5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4" y="7"/>
                    <a:pt x="16" y="6"/>
                    <a:pt x="19" y="6"/>
                  </a:cubicBezTo>
                  <a:cubicBezTo>
                    <a:pt x="22" y="6"/>
                    <a:pt x="23" y="8"/>
                    <a:pt x="23" y="12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34" y="38"/>
                    <a:pt x="34" y="38"/>
                    <a:pt x="34" y="38"/>
                  </a:cubicBezTo>
                  <a:close/>
                  <a:moveTo>
                    <a:pt x="70" y="6"/>
                  </a:moveTo>
                  <a:cubicBezTo>
                    <a:pt x="70" y="1"/>
                    <a:pt x="70" y="1"/>
                    <a:pt x="70" y="1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2" y="1"/>
                    <a:pt x="61" y="1"/>
                    <a:pt x="61" y="1"/>
                  </a:cubicBezTo>
                  <a:cubicBezTo>
                    <a:pt x="60" y="1"/>
                    <a:pt x="59" y="1"/>
                    <a:pt x="58" y="1"/>
                  </a:cubicBezTo>
                  <a:cubicBezTo>
                    <a:pt x="55" y="0"/>
                    <a:pt x="54" y="0"/>
                    <a:pt x="53" y="0"/>
                  </a:cubicBezTo>
                  <a:cubicBezTo>
                    <a:pt x="46" y="0"/>
                    <a:pt x="40" y="6"/>
                    <a:pt x="40" y="13"/>
                  </a:cubicBezTo>
                  <a:cubicBezTo>
                    <a:pt x="40" y="18"/>
                    <a:pt x="42" y="20"/>
                    <a:pt x="46" y="23"/>
                  </a:cubicBezTo>
                  <a:cubicBezTo>
                    <a:pt x="41" y="26"/>
                    <a:pt x="39" y="29"/>
                    <a:pt x="39" y="31"/>
                  </a:cubicBezTo>
                  <a:cubicBezTo>
                    <a:pt x="39" y="34"/>
                    <a:pt x="41" y="35"/>
                    <a:pt x="44" y="36"/>
                  </a:cubicBezTo>
                  <a:cubicBezTo>
                    <a:pt x="39" y="39"/>
                    <a:pt x="38" y="41"/>
                    <a:pt x="38" y="44"/>
                  </a:cubicBezTo>
                  <a:cubicBezTo>
                    <a:pt x="38" y="49"/>
                    <a:pt x="43" y="52"/>
                    <a:pt x="51" y="52"/>
                  </a:cubicBezTo>
                  <a:cubicBezTo>
                    <a:pt x="63" y="52"/>
                    <a:pt x="70" y="47"/>
                    <a:pt x="70" y="39"/>
                  </a:cubicBezTo>
                  <a:cubicBezTo>
                    <a:pt x="70" y="33"/>
                    <a:pt x="66" y="30"/>
                    <a:pt x="59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48" y="29"/>
                    <a:pt x="47" y="29"/>
                    <a:pt x="47" y="28"/>
                  </a:cubicBezTo>
                  <a:cubicBezTo>
                    <a:pt x="47" y="27"/>
                    <a:pt x="48" y="26"/>
                    <a:pt x="50" y="25"/>
                  </a:cubicBezTo>
                  <a:cubicBezTo>
                    <a:pt x="51" y="25"/>
                    <a:pt x="52" y="25"/>
                    <a:pt x="54" y="25"/>
                  </a:cubicBezTo>
                  <a:cubicBezTo>
                    <a:pt x="61" y="25"/>
                    <a:pt x="67" y="20"/>
                    <a:pt x="67" y="13"/>
                  </a:cubicBezTo>
                  <a:cubicBezTo>
                    <a:pt x="67" y="10"/>
                    <a:pt x="66" y="8"/>
                    <a:pt x="64" y="6"/>
                  </a:cubicBezTo>
                  <a:cubicBezTo>
                    <a:pt x="70" y="6"/>
                    <a:pt x="70" y="6"/>
                    <a:pt x="70" y="6"/>
                  </a:cubicBezTo>
                  <a:close/>
                  <a:moveTo>
                    <a:pt x="48" y="37"/>
                  </a:moveTo>
                  <a:cubicBezTo>
                    <a:pt x="63" y="38"/>
                    <a:pt x="64" y="38"/>
                    <a:pt x="64" y="42"/>
                  </a:cubicBezTo>
                  <a:cubicBezTo>
                    <a:pt x="64" y="45"/>
                    <a:pt x="60" y="48"/>
                    <a:pt x="53" y="48"/>
                  </a:cubicBezTo>
                  <a:cubicBezTo>
                    <a:pt x="48" y="48"/>
                    <a:pt x="45" y="46"/>
                    <a:pt x="45" y="43"/>
                  </a:cubicBezTo>
                  <a:cubicBezTo>
                    <a:pt x="45" y="40"/>
                    <a:pt x="46" y="39"/>
                    <a:pt x="48" y="37"/>
                  </a:cubicBezTo>
                  <a:close/>
                  <a:moveTo>
                    <a:pt x="102" y="19"/>
                  </a:moveTo>
                  <a:cubicBezTo>
                    <a:pt x="102" y="6"/>
                    <a:pt x="97" y="0"/>
                    <a:pt x="89" y="0"/>
                  </a:cubicBezTo>
                  <a:cubicBezTo>
                    <a:pt x="80" y="0"/>
                    <a:pt x="75" y="8"/>
                    <a:pt x="75" y="21"/>
                  </a:cubicBezTo>
                  <a:cubicBezTo>
                    <a:pt x="75" y="33"/>
                    <a:pt x="80" y="39"/>
                    <a:pt x="89" y="39"/>
                  </a:cubicBezTo>
                  <a:cubicBezTo>
                    <a:pt x="95" y="39"/>
                    <a:pt x="98" y="37"/>
                    <a:pt x="102" y="30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6" y="32"/>
                    <a:pt x="94" y="34"/>
                    <a:pt x="91" y="34"/>
                  </a:cubicBezTo>
                  <a:cubicBezTo>
                    <a:pt x="86" y="34"/>
                    <a:pt x="83" y="29"/>
                    <a:pt x="82" y="19"/>
                  </a:cubicBezTo>
                  <a:cubicBezTo>
                    <a:pt x="102" y="19"/>
                    <a:pt x="102" y="19"/>
                    <a:pt x="102" y="19"/>
                  </a:cubicBezTo>
                  <a:close/>
                  <a:moveTo>
                    <a:pt x="82" y="15"/>
                  </a:moveTo>
                  <a:cubicBezTo>
                    <a:pt x="83" y="7"/>
                    <a:pt x="85" y="4"/>
                    <a:pt x="88" y="4"/>
                  </a:cubicBezTo>
                  <a:cubicBezTo>
                    <a:pt x="92" y="4"/>
                    <a:pt x="94" y="7"/>
                    <a:pt x="94" y="15"/>
                  </a:cubicBezTo>
                  <a:cubicBezTo>
                    <a:pt x="82" y="15"/>
                    <a:pt x="82" y="15"/>
                    <a:pt x="82" y="15"/>
                  </a:cubicBezTo>
                  <a:close/>
                  <a:moveTo>
                    <a:pt x="120" y="0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108" y="3"/>
                    <a:pt x="108" y="3"/>
                    <a:pt x="108" y="3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2" y="34"/>
                    <a:pt x="112" y="34"/>
                    <a:pt x="112" y="34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5" y="35"/>
                    <a:pt x="125" y="35"/>
                    <a:pt x="125" y="35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14"/>
                    <a:pt x="120" y="14"/>
                    <a:pt x="120" y="14"/>
                  </a:cubicBezTo>
                  <a:cubicBezTo>
                    <a:pt x="120" y="12"/>
                    <a:pt x="122" y="9"/>
                    <a:pt x="124" y="8"/>
                  </a:cubicBezTo>
                  <a:cubicBezTo>
                    <a:pt x="128" y="10"/>
                    <a:pt x="128" y="10"/>
                    <a:pt x="128" y="10"/>
                  </a:cubicBezTo>
                  <a:cubicBezTo>
                    <a:pt x="130" y="8"/>
                    <a:pt x="131" y="7"/>
                    <a:pt x="131" y="5"/>
                  </a:cubicBezTo>
                  <a:cubicBezTo>
                    <a:pt x="131" y="3"/>
                    <a:pt x="130" y="1"/>
                    <a:pt x="127" y="1"/>
                  </a:cubicBezTo>
                  <a:cubicBezTo>
                    <a:pt x="124" y="1"/>
                    <a:pt x="123" y="2"/>
                    <a:pt x="120" y="8"/>
                  </a:cubicBezTo>
                  <a:cubicBezTo>
                    <a:pt x="120" y="0"/>
                    <a:pt x="120" y="0"/>
                    <a:pt x="120" y="0"/>
                  </a:cubicBezTo>
                  <a:close/>
                  <a:moveTo>
                    <a:pt x="31" y="60"/>
                  </a:moveTo>
                  <a:cubicBezTo>
                    <a:pt x="28" y="60"/>
                    <a:pt x="26" y="63"/>
                    <a:pt x="26" y="65"/>
                  </a:cubicBezTo>
                  <a:cubicBezTo>
                    <a:pt x="26" y="68"/>
                    <a:pt x="28" y="70"/>
                    <a:pt x="31" y="70"/>
                  </a:cubicBezTo>
                  <a:cubicBezTo>
                    <a:pt x="34" y="70"/>
                    <a:pt x="36" y="68"/>
                    <a:pt x="36" y="65"/>
                  </a:cubicBezTo>
                  <a:cubicBezTo>
                    <a:pt x="36" y="63"/>
                    <a:pt x="34" y="60"/>
                    <a:pt x="31" y="60"/>
                  </a:cubicBezTo>
                  <a:close/>
                  <a:moveTo>
                    <a:pt x="39" y="117"/>
                  </a:moveTo>
                  <a:cubicBezTo>
                    <a:pt x="39" y="114"/>
                    <a:pt x="39" y="114"/>
                    <a:pt x="39" y="114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24" y="82"/>
                    <a:pt x="24" y="82"/>
                    <a:pt x="24" y="82"/>
                  </a:cubicBezTo>
                  <a:cubicBezTo>
                    <a:pt x="24" y="84"/>
                    <a:pt x="24" y="84"/>
                    <a:pt x="24" y="84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24" y="114"/>
                    <a:pt x="24" y="114"/>
                    <a:pt x="24" y="114"/>
                  </a:cubicBezTo>
                  <a:cubicBezTo>
                    <a:pt x="24" y="117"/>
                    <a:pt x="24" y="117"/>
                    <a:pt x="24" y="117"/>
                  </a:cubicBezTo>
                  <a:cubicBezTo>
                    <a:pt x="100" y="117"/>
                    <a:pt x="100" y="117"/>
                    <a:pt x="100" y="117"/>
                  </a:cubicBezTo>
                  <a:cubicBezTo>
                    <a:pt x="100" y="114"/>
                    <a:pt x="100" y="114"/>
                    <a:pt x="100" y="114"/>
                  </a:cubicBezTo>
                  <a:cubicBezTo>
                    <a:pt x="95" y="113"/>
                    <a:pt x="95" y="113"/>
                    <a:pt x="95" y="113"/>
                  </a:cubicBezTo>
                  <a:cubicBezTo>
                    <a:pt x="95" y="90"/>
                    <a:pt x="95" y="90"/>
                    <a:pt x="95" y="90"/>
                  </a:cubicBezTo>
                  <a:cubicBezTo>
                    <a:pt x="95" y="82"/>
                    <a:pt x="93" y="79"/>
                    <a:pt x="86" y="79"/>
                  </a:cubicBezTo>
                  <a:cubicBezTo>
                    <a:pt x="82" y="79"/>
                    <a:pt x="79" y="81"/>
                    <a:pt x="75" y="84"/>
                  </a:cubicBezTo>
                  <a:cubicBezTo>
                    <a:pt x="73" y="81"/>
                    <a:pt x="71" y="79"/>
                    <a:pt x="67" y="79"/>
                  </a:cubicBezTo>
                  <a:cubicBezTo>
                    <a:pt x="63" y="79"/>
                    <a:pt x="60" y="81"/>
                    <a:pt x="56" y="84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113"/>
                    <a:pt x="49" y="113"/>
                    <a:pt x="49" y="113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45" y="117"/>
                    <a:pt x="45" y="117"/>
                    <a:pt x="45" y="117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57" y="113"/>
                    <a:pt x="57" y="113"/>
                    <a:pt x="57" y="113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9" y="85"/>
                    <a:pt x="61" y="84"/>
                    <a:pt x="64" y="84"/>
                  </a:cubicBezTo>
                  <a:cubicBezTo>
                    <a:pt x="67" y="84"/>
                    <a:pt x="69" y="87"/>
                    <a:pt x="69" y="91"/>
                  </a:cubicBezTo>
                  <a:cubicBezTo>
                    <a:pt x="69" y="113"/>
                    <a:pt x="69" y="113"/>
                    <a:pt x="69" y="113"/>
                  </a:cubicBezTo>
                  <a:cubicBezTo>
                    <a:pt x="64" y="114"/>
                    <a:pt x="64" y="114"/>
                    <a:pt x="64" y="114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80" y="117"/>
                    <a:pt x="80" y="117"/>
                    <a:pt x="80" y="117"/>
                  </a:cubicBezTo>
                  <a:cubicBezTo>
                    <a:pt x="80" y="114"/>
                    <a:pt x="80" y="114"/>
                    <a:pt x="80" y="114"/>
                  </a:cubicBezTo>
                  <a:cubicBezTo>
                    <a:pt x="76" y="113"/>
                    <a:pt x="76" y="113"/>
                    <a:pt x="76" y="113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9" y="85"/>
                    <a:pt x="81" y="84"/>
                    <a:pt x="83" y="84"/>
                  </a:cubicBezTo>
                  <a:cubicBezTo>
                    <a:pt x="86" y="84"/>
                    <a:pt x="88" y="86"/>
                    <a:pt x="88" y="92"/>
                  </a:cubicBezTo>
                  <a:cubicBezTo>
                    <a:pt x="88" y="113"/>
                    <a:pt x="88" y="113"/>
                    <a:pt x="88" y="113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7"/>
                    <a:pt x="84" y="117"/>
                    <a:pt x="84" y="117"/>
                  </a:cubicBezTo>
                  <a:cubicBezTo>
                    <a:pt x="100" y="117"/>
                    <a:pt x="100" y="117"/>
                    <a:pt x="100" y="117"/>
                  </a:cubicBezTo>
                  <a:cubicBezTo>
                    <a:pt x="39" y="117"/>
                    <a:pt x="39" y="117"/>
                    <a:pt x="39" y="1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26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Slide Number"/>
          <p:cNvSpPr txBox="1">
            <a:spLocks/>
          </p:cNvSpPr>
          <p:nvPr userDrawn="1"/>
        </p:nvSpPr>
        <p:spPr bwMode="auto">
          <a:xfrm>
            <a:off x="8802412" y="6513631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3626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defTabSz="913626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74946" y="6546014"/>
            <a:ext cx="6841963" cy="2198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defTabSz="913626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PRIVILEGED AND CONFIDENTIAL – ATTORNEY WORK PRODUCT – A/C PRIVILEGED</a:t>
            </a:r>
          </a:p>
          <a:p>
            <a:pPr defTabSz="913626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For integration preparation purposes only. All proposals will be subject to appropriate consultation where applicable with employees and employee representative bodies.</a:t>
            </a:r>
          </a:p>
        </p:txBody>
      </p:sp>
    </p:spTree>
    <p:extLst>
      <p:ext uri="{BB962C8B-B14F-4D97-AF65-F5344CB8AC3E}">
        <p14:creationId xmlns:p14="http://schemas.microsoft.com/office/powerpoint/2010/main" val="220566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Slides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1498" y="283651"/>
            <a:ext cx="7145786" cy="597536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lnSpc>
                <a:spcPct val="70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"/>
          </p:nvPr>
        </p:nvSpPr>
        <p:spPr>
          <a:xfrm>
            <a:off x="271645" y="1494563"/>
            <a:ext cx="8624085" cy="551698"/>
          </a:xfrm>
          <a:prstGeom prst="rect">
            <a:avLst/>
          </a:prstGeom>
        </p:spPr>
        <p:txBody>
          <a:bodyPr lIns="78934" tIns="39470" rIns="78934" bIns="39470"/>
          <a:lstStyle>
            <a:lvl1pPr marL="152094" indent="-152094">
              <a:buClr>
                <a:schemeClr val="accent1"/>
              </a:buClr>
              <a:buFont typeface="Wingdings" pitchFamily="2" charset="2"/>
              <a:buChar char=""/>
              <a:defRPr sz="1000">
                <a:latin typeface="Calibri" pitchFamily="34" charset="0"/>
                <a:cs typeface="Calibri" pitchFamily="34" charset="0"/>
              </a:defRPr>
            </a:lvl1pPr>
            <a:lvl2pPr marL="313792" indent="-161691">
              <a:buClr>
                <a:schemeClr val="accent1"/>
              </a:buClr>
              <a:buSzPct val="90000"/>
              <a:buFont typeface="Wingdings" pitchFamily="2" charset="2"/>
              <a:buChar char="n"/>
              <a:defRPr sz="1000">
                <a:latin typeface="Calibri" pitchFamily="34" charset="0"/>
                <a:cs typeface="Calibri" pitchFamily="34" charset="0"/>
              </a:defRPr>
            </a:lvl2pPr>
            <a:lvl3pPr marL="475525" indent="-161691">
              <a:buClr>
                <a:schemeClr val="accent1"/>
              </a:buClr>
              <a:buSzPct val="80000"/>
              <a:buFont typeface="Wingdings" pitchFamily="2" charset="2"/>
              <a:buChar char="n"/>
              <a:defRPr sz="1000">
                <a:latin typeface="Calibri" pitchFamily="34" charset="0"/>
                <a:cs typeface="Calibri" pitchFamily="34" charset="0"/>
              </a:defRPr>
            </a:lvl3pPr>
            <a:lvl4pPr marL="619334" indent="-153445">
              <a:defRPr sz="1000">
                <a:latin typeface="Calibri" pitchFamily="34" charset="0"/>
                <a:cs typeface="Calibri" pitchFamily="34" charset="0"/>
              </a:defRPr>
            </a:lvl4pPr>
            <a:lvl5pPr marL="771433" indent="-152094">
              <a:buClr>
                <a:schemeClr val="accent1"/>
              </a:buClr>
              <a:buFont typeface="Arial" pitchFamily="34" charset="0"/>
              <a:buChar char="•"/>
              <a:defRPr sz="10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473063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146125"/>
              </p:ext>
            </p:extLst>
          </p:nvPr>
        </p:nvGraphicFramePr>
        <p:xfrm>
          <a:off x="1700" y="17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00" y="17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220" descr="D:\Team members\Don't Delete_Mithun\2016\01 January\28-01-2016\FT1764\Cover-01.jp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0" y="-92166"/>
            <a:ext cx="9144000" cy="6950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31849" y="220285"/>
            <a:ext cx="1312071" cy="388739"/>
          </a:xfrm>
          <a:prstGeom prst="rect">
            <a:avLst/>
          </a:prstGeom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631738" y="6039443"/>
            <a:ext cx="4727576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31738" y="3949083"/>
            <a:ext cx="4727576" cy="984884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31738" y="5199237"/>
            <a:ext cx="4727576" cy="282625"/>
          </a:xfrm>
        </p:spPr>
        <p:txBody>
          <a:bodyPr wrap="square">
            <a:spAutoFit/>
          </a:bodyPr>
          <a:lstStyle>
            <a:lvl1pPr>
              <a:defRPr sz="18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174946" y="6546014"/>
            <a:ext cx="6841963" cy="2198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PRIVILEGED AND CONFIDENTIAL – ATTORNEY WORK PRODUCT – A/C PRIVILEGED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For integration preparation purposes only. All proposals will be subject to appropriate consultation where applicable with employees and employee representative bodies.</a:t>
            </a:r>
          </a:p>
        </p:txBody>
      </p:sp>
    </p:spTree>
    <p:extLst>
      <p:ext uri="{BB962C8B-B14F-4D97-AF65-F5344CB8AC3E}">
        <p14:creationId xmlns:p14="http://schemas.microsoft.com/office/powerpoint/2010/main" val="16531968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3268582"/>
              </p:ext>
            </p:extLst>
          </p:nvPr>
        </p:nvGraphicFramePr>
        <p:xfrm>
          <a:off x="1732" y="173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32" y="173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174946" y="6546014"/>
            <a:ext cx="6841963" cy="2198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PRIVILEGED AND CONFIDENTIAL – ATTORNEY WORK PRODUCT – A/C PRIVILEGED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For integration preparation purposes only. All proposals will be subject to appropriate consultation where applicable with employees and employee representative bodies.</a:t>
            </a:r>
          </a:p>
        </p:txBody>
      </p:sp>
    </p:spTree>
    <p:extLst>
      <p:ext uri="{BB962C8B-B14F-4D97-AF65-F5344CB8AC3E}">
        <p14:creationId xmlns:p14="http://schemas.microsoft.com/office/powerpoint/2010/main" val="358742566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29530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920" y="427024"/>
            <a:ext cx="8666145" cy="786121"/>
          </a:xfrm>
        </p:spPr>
        <p:txBody>
          <a:bodyPr>
            <a:noAutofit/>
          </a:bodyPr>
          <a:lstStyle>
            <a:lvl1pPr algn="l">
              <a:lnSpc>
                <a:spcPts val="2400"/>
              </a:lnSpc>
              <a:defRPr sz="2400" b="1" i="0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39964338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Slides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1498" y="283651"/>
            <a:ext cx="7145786" cy="597536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lnSpc>
                <a:spcPct val="70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360944" y="6538313"/>
            <a:ext cx="521273" cy="286530"/>
          </a:xfrm>
          <a:prstGeom prst="rect">
            <a:avLst/>
          </a:prstGeom>
        </p:spPr>
        <p:txBody>
          <a:bodyPr lIns="92217" tIns="46116" rIns="92217" bIns="46116"/>
          <a:lstStyle>
            <a:lvl1pPr>
              <a:defRPr sz="7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B35A9654-D969-4406-AFE5-F5D3F79DCF6E}" type="slidenum">
              <a:rPr lang="en-US" smtClean="0">
                <a:solidFill>
                  <a:srgbClr val="003366">
                    <a:tint val="75000"/>
                  </a:srgbClr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dirty="0">
              <a:solidFill>
                <a:srgbClr val="003366">
                  <a:tint val="75000"/>
                </a:srgbClr>
              </a:solidFill>
            </a:endParaRPr>
          </a:p>
        </p:txBody>
      </p:sp>
      <p:sp>
        <p:nvSpPr>
          <p:cNvPr id="20" name="Content Placeholder 2"/>
          <p:cNvSpPr>
            <a:spLocks noGrp="1"/>
          </p:cNvSpPr>
          <p:nvPr>
            <p:ph idx="1"/>
          </p:nvPr>
        </p:nvSpPr>
        <p:spPr>
          <a:xfrm>
            <a:off x="271642" y="1494563"/>
            <a:ext cx="8624085" cy="551698"/>
          </a:xfrm>
          <a:prstGeom prst="rect">
            <a:avLst/>
          </a:prstGeom>
        </p:spPr>
        <p:txBody>
          <a:bodyPr lIns="78959" tIns="39484" rIns="78959" bIns="39484"/>
          <a:lstStyle>
            <a:lvl1pPr marL="152143" indent="-152143">
              <a:buClr>
                <a:schemeClr val="accent1"/>
              </a:buClr>
              <a:buFont typeface="Wingdings" pitchFamily="2" charset="2"/>
              <a:buChar char=""/>
              <a:defRPr sz="1000">
                <a:latin typeface="Calibri" pitchFamily="34" charset="0"/>
                <a:cs typeface="Calibri" pitchFamily="34" charset="0"/>
              </a:defRPr>
            </a:lvl1pPr>
            <a:lvl2pPr marL="313892" indent="-161742">
              <a:buClr>
                <a:schemeClr val="accent1"/>
              </a:buClr>
              <a:buSzPct val="90000"/>
              <a:buFont typeface="Wingdings" pitchFamily="2" charset="2"/>
              <a:buChar char="n"/>
              <a:defRPr sz="1000">
                <a:latin typeface="Calibri" pitchFamily="34" charset="0"/>
                <a:cs typeface="Calibri" pitchFamily="34" charset="0"/>
              </a:defRPr>
            </a:lvl2pPr>
            <a:lvl3pPr marL="475675" indent="-161742">
              <a:buClr>
                <a:schemeClr val="accent1"/>
              </a:buClr>
              <a:buSzPct val="80000"/>
              <a:buFont typeface="Wingdings" pitchFamily="2" charset="2"/>
              <a:buChar char="n"/>
              <a:defRPr sz="1000">
                <a:latin typeface="Calibri" pitchFamily="34" charset="0"/>
                <a:cs typeface="Calibri" pitchFamily="34" charset="0"/>
              </a:defRPr>
            </a:lvl3pPr>
            <a:lvl4pPr marL="619531" indent="-153494">
              <a:defRPr sz="1000">
                <a:latin typeface="Calibri" pitchFamily="34" charset="0"/>
                <a:cs typeface="Calibri" pitchFamily="34" charset="0"/>
              </a:defRPr>
            </a:lvl4pPr>
            <a:lvl5pPr marL="771678" indent="-152143">
              <a:buClr>
                <a:schemeClr val="accent1"/>
              </a:buClr>
              <a:buFont typeface="Arial" pitchFamily="34" charset="0"/>
              <a:buChar char="•"/>
              <a:defRPr sz="10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7358990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81471" y="835172"/>
            <a:ext cx="6783369" cy="3667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1894" indent="0">
              <a:buNone/>
              <a:defRPr/>
            </a:lvl2pPr>
            <a:lvl3pPr marL="903800" indent="0">
              <a:buNone/>
              <a:defRPr/>
            </a:lvl3pPr>
            <a:lvl4pPr marL="1355699" indent="0">
              <a:buNone/>
              <a:defRPr/>
            </a:lvl4pPr>
            <a:lvl5pPr marL="1807597" indent="0">
              <a:buNone/>
              <a:defRPr/>
            </a:lvl5pPr>
          </a:lstStyle>
          <a:p>
            <a:pPr lvl="0"/>
            <a:r>
              <a:rPr lang="en-US" dirty="0"/>
              <a:t>Click to edit Master Subhead styles</a:t>
            </a:r>
          </a:p>
        </p:txBody>
      </p:sp>
    </p:spTree>
    <p:extLst>
      <p:ext uri="{BB962C8B-B14F-4D97-AF65-F5344CB8AC3E}">
        <p14:creationId xmlns:p14="http://schemas.microsoft.com/office/powerpoint/2010/main" val="381095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2048" y="1364557"/>
            <a:ext cx="8229600" cy="1256112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708742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47868" y="2182090"/>
            <a:ext cx="8234170" cy="3628338"/>
          </a:xfrm>
        </p:spPr>
        <p:txBody>
          <a:bodyPr>
            <a:noAutofit/>
          </a:bodyPr>
          <a:lstStyle>
            <a:lvl1pPr>
              <a:spcBef>
                <a:spcPts val="1500"/>
              </a:spcBef>
              <a:defRPr sz="1800"/>
            </a:lvl1pPr>
            <a:lvl2pPr marL="506823" indent="-174171">
              <a:spcBef>
                <a:spcPts val="700"/>
              </a:spcBef>
              <a:buFont typeface="Arial" panose="020B0604020202020204" pitchFamily="34" charset="0"/>
              <a:buChar char="–"/>
              <a:defRPr sz="1600"/>
            </a:lvl2pPr>
            <a:lvl3pPr marL="792396" indent="-166326">
              <a:spcBef>
                <a:spcPts val="300"/>
              </a:spcBef>
              <a:defRPr sz="1400"/>
            </a:lvl3pPr>
            <a:lvl4pPr marL="1070127" indent="-166326">
              <a:spcBef>
                <a:spcPts val="200"/>
              </a:spcBef>
              <a:buFont typeface="Arial" panose="020B0604020202020204" pitchFamily="34" charset="0"/>
              <a:buChar char="–"/>
              <a:defRPr sz="1200"/>
            </a:lvl4pPr>
            <a:lvl5pPr marL="1355699" indent="-167895">
              <a:spcBef>
                <a:spcPts val="100"/>
              </a:spcBef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7882" y="1433802"/>
            <a:ext cx="8245281" cy="67170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1894" indent="0">
              <a:buNone/>
              <a:defRPr sz="2000" b="1"/>
            </a:lvl2pPr>
            <a:lvl3pPr marL="903800" indent="0">
              <a:buNone/>
              <a:defRPr sz="1800" b="1"/>
            </a:lvl3pPr>
            <a:lvl4pPr marL="1355699" indent="0">
              <a:buNone/>
              <a:defRPr sz="1600" b="1"/>
            </a:lvl4pPr>
            <a:lvl5pPr marL="1807597" indent="0">
              <a:buNone/>
              <a:defRPr sz="1600" b="1"/>
            </a:lvl5pPr>
            <a:lvl6pPr marL="2259499" indent="0">
              <a:buNone/>
              <a:defRPr sz="1600" b="1"/>
            </a:lvl6pPr>
            <a:lvl7pPr marL="2711403" indent="0">
              <a:buNone/>
              <a:defRPr sz="1600" b="1"/>
            </a:lvl7pPr>
            <a:lvl8pPr marL="3163301" indent="0">
              <a:buNone/>
              <a:defRPr sz="1600" b="1"/>
            </a:lvl8pPr>
            <a:lvl9pPr marL="361519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57200" y="5922151"/>
            <a:ext cx="7616536" cy="214226"/>
          </a:xfrm>
        </p:spPr>
        <p:txBody>
          <a:bodyPr wrap="square" anchor="b" anchorCtr="0">
            <a:noAutofit/>
          </a:bodyPr>
          <a:lstStyle>
            <a:lvl1pPr marL="0" indent="0">
              <a:lnSpc>
                <a:spcPct val="88000"/>
              </a:lnSpc>
              <a:spcBef>
                <a:spcPts val="120"/>
              </a:spcBef>
              <a:buNone/>
              <a:tabLst/>
              <a:defRPr sz="800"/>
            </a:lvl1pPr>
            <a:lvl2pPr marL="451894" indent="0">
              <a:buNone/>
              <a:defRPr/>
            </a:lvl2pPr>
            <a:lvl3pPr marL="903800" indent="0">
              <a:buNone/>
              <a:defRPr/>
            </a:lvl3pPr>
            <a:lvl4pPr marL="1244296" indent="0">
              <a:buNone/>
              <a:defRPr/>
            </a:lvl4pPr>
            <a:lvl5pPr marL="1639706" indent="0">
              <a:buNone/>
              <a:defRPr/>
            </a:lvl5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21" y="847159"/>
            <a:ext cx="8220142" cy="355482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2"/>
                </a:solidFill>
              </a:defRPr>
            </a:lvl1pPr>
            <a:lvl2pPr marL="451894" indent="0">
              <a:buNone/>
              <a:defRPr/>
            </a:lvl2pPr>
            <a:lvl3pPr marL="903800" indent="0">
              <a:buNone/>
              <a:defRPr/>
            </a:lvl3pPr>
            <a:lvl4pPr marL="1244296" indent="0">
              <a:buNone/>
              <a:defRPr/>
            </a:lvl4pPr>
            <a:lvl5pPr marL="1639706" indent="0"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11600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.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925" y="248898"/>
            <a:ext cx="8666145" cy="786121"/>
          </a:xfrm>
        </p:spPr>
        <p:txBody>
          <a:bodyPr>
            <a:noAutofit/>
          </a:bodyPr>
          <a:lstStyle>
            <a:lvl1pPr algn="l">
              <a:lnSpc>
                <a:spcPts val="2400"/>
              </a:lnSpc>
              <a:defRPr sz="2400" b="1" i="0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6610308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. Content Slide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9508" y="248898"/>
            <a:ext cx="8008683" cy="412309"/>
          </a:xfrm>
        </p:spPr>
        <p:txBody>
          <a:bodyPr>
            <a:noAutofit/>
          </a:bodyPr>
          <a:lstStyle>
            <a:lvl1pPr algn="l">
              <a:lnSpc>
                <a:spcPts val="2400"/>
              </a:lnSpc>
              <a:defRPr sz="2400" b="1" i="0" cap="all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Espace réservé du contenu 6"/>
          <p:cNvSpPr>
            <a:spLocks noGrp="1"/>
          </p:cNvSpPr>
          <p:nvPr>
            <p:ph sz="quarter" idx="11" hasCustomPrompt="1"/>
          </p:nvPr>
        </p:nvSpPr>
        <p:spPr>
          <a:xfrm>
            <a:off x="265809" y="1573657"/>
            <a:ext cx="8665660" cy="1463573"/>
          </a:xfrm>
          <a:prstGeom prst="rect">
            <a:avLst/>
          </a:prstGeom>
        </p:spPr>
        <p:txBody>
          <a:bodyPr lIns="90345" tIns="45176" rIns="90345" bIns="45176"/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1pPr>
            <a:lvl2pPr marL="355680" indent="-177841"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637993" indent="-282316"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711362" indent="-177841">
              <a:spcBef>
                <a:spcPts val="400"/>
              </a:spcBef>
              <a:buClr>
                <a:srgbClr val="009684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889190" indent="-177841">
              <a:spcBef>
                <a:spcPts val="4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  Fourth level</a:t>
            </a:r>
          </a:p>
          <a:p>
            <a:pPr lvl="4"/>
            <a:r>
              <a:rPr lang="en-US" dirty="0"/>
              <a:t>  Fifth level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F091C032-6062-4467-90F6-02EEAEA20D3D}"/>
              </a:ext>
            </a:extLst>
          </p:cNvPr>
          <p:cNvSpPr txBox="1"/>
          <p:nvPr userDrawn="1"/>
        </p:nvSpPr>
        <p:spPr>
          <a:xfrm>
            <a:off x="0" y="6553200"/>
            <a:ext cx="3200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solidFill>
                  <a:schemeClr val="bg1"/>
                </a:solidFill>
              </a:rPr>
              <a:t>Ibtissam Radi – Parcours Data scientist 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82EEF8D-8917-423E-A320-90936ED568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09" y="152400"/>
            <a:ext cx="412309" cy="412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667942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81471" y="835175"/>
            <a:ext cx="6783369" cy="3667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1750" indent="0">
              <a:buNone/>
              <a:defRPr/>
            </a:lvl2pPr>
            <a:lvl3pPr marL="903512" indent="0">
              <a:buNone/>
              <a:defRPr/>
            </a:lvl3pPr>
            <a:lvl4pPr marL="1355268" indent="0">
              <a:buNone/>
              <a:defRPr/>
            </a:lvl4pPr>
            <a:lvl5pPr marL="1807023" indent="0">
              <a:buNone/>
              <a:defRPr/>
            </a:lvl5pPr>
          </a:lstStyle>
          <a:p>
            <a:pPr lvl="0"/>
            <a:r>
              <a:rPr lang="en-US" dirty="0"/>
              <a:t>Click to edit Master Subhead styles</a:t>
            </a:r>
          </a:p>
        </p:txBody>
      </p:sp>
    </p:spTree>
    <p:extLst>
      <p:ext uri="{BB962C8B-B14F-4D97-AF65-F5344CB8AC3E}">
        <p14:creationId xmlns:p14="http://schemas.microsoft.com/office/powerpoint/2010/main" val="1419404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47868" y="2182090"/>
            <a:ext cx="8234170" cy="3628338"/>
          </a:xfrm>
        </p:spPr>
        <p:txBody>
          <a:bodyPr>
            <a:noAutofit/>
          </a:bodyPr>
          <a:lstStyle>
            <a:lvl1pPr>
              <a:spcBef>
                <a:spcPts val="1500"/>
              </a:spcBef>
              <a:defRPr sz="1800"/>
            </a:lvl1pPr>
            <a:lvl2pPr marL="506664" indent="-174116">
              <a:spcBef>
                <a:spcPts val="700"/>
              </a:spcBef>
              <a:buFont typeface="Arial" panose="020B0604020202020204" pitchFamily="34" charset="0"/>
              <a:buChar char="–"/>
              <a:defRPr sz="1600"/>
            </a:lvl2pPr>
            <a:lvl3pPr marL="792144" indent="-166273">
              <a:spcBef>
                <a:spcPts val="300"/>
              </a:spcBef>
              <a:defRPr sz="1400"/>
            </a:lvl3pPr>
            <a:lvl4pPr marL="1069787" indent="-166273">
              <a:spcBef>
                <a:spcPts val="200"/>
              </a:spcBef>
              <a:buFont typeface="Arial" panose="020B0604020202020204" pitchFamily="34" charset="0"/>
              <a:buChar char="–"/>
              <a:defRPr sz="1200"/>
            </a:lvl4pPr>
            <a:lvl5pPr marL="1355268" indent="-167841">
              <a:spcBef>
                <a:spcPts val="100"/>
              </a:spcBef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7882" y="1433805"/>
            <a:ext cx="8245281" cy="67170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1750" indent="0">
              <a:buNone/>
              <a:defRPr sz="2000" b="1"/>
            </a:lvl2pPr>
            <a:lvl3pPr marL="903512" indent="0">
              <a:buNone/>
              <a:defRPr sz="1800" b="1"/>
            </a:lvl3pPr>
            <a:lvl4pPr marL="1355268" indent="0">
              <a:buNone/>
              <a:defRPr sz="1600" b="1"/>
            </a:lvl4pPr>
            <a:lvl5pPr marL="1807023" indent="0">
              <a:buNone/>
              <a:defRPr sz="1600" b="1"/>
            </a:lvl5pPr>
            <a:lvl6pPr marL="2258781" indent="0">
              <a:buNone/>
              <a:defRPr sz="1600" b="1"/>
            </a:lvl6pPr>
            <a:lvl7pPr marL="2710541" indent="0">
              <a:buNone/>
              <a:defRPr sz="1600" b="1"/>
            </a:lvl7pPr>
            <a:lvl8pPr marL="3162295" indent="0">
              <a:buNone/>
              <a:defRPr sz="1600" b="1"/>
            </a:lvl8pPr>
            <a:lvl9pPr marL="361404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57200" y="5922151"/>
            <a:ext cx="7616536" cy="214226"/>
          </a:xfrm>
        </p:spPr>
        <p:txBody>
          <a:bodyPr wrap="square" anchor="b" anchorCtr="0">
            <a:noAutofit/>
          </a:bodyPr>
          <a:lstStyle>
            <a:lvl1pPr marL="0" indent="0">
              <a:lnSpc>
                <a:spcPct val="88000"/>
              </a:lnSpc>
              <a:spcBef>
                <a:spcPts val="120"/>
              </a:spcBef>
              <a:buNone/>
              <a:tabLst/>
              <a:defRPr sz="800"/>
            </a:lvl1pPr>
            <a:lvl2pPr marL="451750" indent="0">
              <a:buNone/>
              <a:defRPr/>
            </a:lvl2pPr>
            <a:lvl3pPr marL="903512" indent="0">
              <a:buNone/>
              <a:defRPr/>
            </a:lvl3pPr>
            <a:lvl4pPr marL="1243900" indent="0">
              <a:buNone/>
              <a:defRPr/>
            </a:lvl4pPr>
            <a:lvl5pPr marL="1639184" indent="0">
              <a:buNone/>
              <a:defRPr/>
            </a:lvl5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221" y="847159"/>
            <a:ext cx="8220142" cy="355482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2"/>
                </a:solidFill>
              </a:defRPr>
            </a:lvl1pPr>
            <a:lvl2pPr marL="451750" indent="0">
              <a:buNone/>
              <a:defRPr/>
            </a:lvl2pPr>
            <a:lvl3pPr marL="903512" indent="0">
              <a:buNone/>
              <a:defRPr/>
            </a:lvl3pPr>
            <a:lvl4pPr marL="1243900" indent="0">
              <a:buNone/>
              <a:defRPr/>
            </a:lvl4pPr>
            <a:lvl5pPr marL="1639184" indent="0"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89638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ltGray">
          <a:xfrm>
            <a:off x="3239" y="6402452"/>
            <a:ext cx="9140760" cy="379385"/>
          </a:xfrm>
          <a:prstGeom prst="rect">
            <a:avLst/>
          </a:prstGeom>
          <a:solidFill>
            <a:srgbClr val="285888"/>
          </a:solidFill>
          <a:ln w="9525">
            <a:solidFill>
              <a:srgbClr val="28588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3186" tIns="46594" rIns="93186" bIns="46594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70198"/>
            <a:endParaRPr lang="en-US" sz="1000" b="1" kern="0" dirty="0">
              <a:solidFill>
                <a:srgbClr val="FFFFFF"/>
              </a:solidFill>
              <a:latin typeface="BISansCond"/>
              <a:cs typeface="Arial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 bwMode="ltGray">
          <a:xfrm>
            <a:off x="3239" y="6781839"/>
            <a:ext cx="9140760" cy="74551"/>
          </a:xfrm>
          <a:prstGeom prst="rect">
            <a:avLst/>
          </a:prstGeom>
          <a:solidFill>
            <a:srgbClr val="003366"/>
          </a:solidFill>
          <a:ln w="9525">
            <a:solidFill>
              <a:srgbClr val="00336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3186" tIns="46594" rIns="93186" bIns="46594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70198"/>
            <a:endParaRPr lang="en-US" sz="1000" b="1" kern="0" dirty="0">
              <a:solidFill>
                <a:srgbClr val="FFFFFF"/>
              </a:solidFill>
              <a:latin typeface="BISansCond"/>
              <a:cs typeface="Arial" pitchFamily="34" charset="0"/>
            </a:endParaRPr>
          </a:p>
        </p:txBody>
      </p:sp>
      <p:grpSp>
        <p:nvGrpSpPr>
          <p:cNvPr id="4" name="Group 3"/>
          <p:cNvGrpSpPr/>
          <p:nvPr userDrawn="1"/>
        </p:nvGrpSpPr>
        <p:grpSpPr bwMode="auto">
          <a:xfrm>
            <a:off x="7607998" y="6445567"/>
            <a:ext cx="1020082" cy="308657"/>
            <a:chOff x="2103438" y="-793750"/>
            <a:chExt cx="1893887" cy="573087"/>
          </a:xfrm>
        </p:grpSpPr>
        <p:sp>
          <p:nvSpPr>
            <p:cNvPr id="5" name="Freeform 7"/>
            <p:cNvSpPr>
              <a:spLocks noEditPoints="1"/>
            </p:cNvSpPr>
            <p:nvPr/>
          </p:nvSpPr>
          <p:spPr bwMode="auto">
            <a:xfrm>
              <a:off x="2755900" y="-768350"/>
              <a:ext cx="401637" cy="547687"/>
            </a:xfrm>
            <a:custGeom>
              <a:avLst/>
              <a:gdLst>
                <a:gd name="T0" fmla="*/ 13 w 107"/>
                <a:gd name="T1" fmla="*/ 4 h 146"/>
                <a:gd name="T2" fmla="*/ 26 w 107"/>
                <a:gd name="T3" fmla="*/ 13 h 146"/>
                <a:gd name="T4" fmla="*/ 13 w 107"/>
                <a:gd name="T5" fmla="*/ 24 h 146"/>
                <a:gd name="T6" fmla="*/ 0 w 107"/>
                <a:gd name="T7" fmla="*/ 1 h 146"/>
                <a:gd name="T8" fmla="*/ 5 w 107"/>
                <a:gd name="T9" fmla="*/ 5 h 146"/>
                <a:gd name="T10" fmla="*/ 0 w 107"/>
                <a:gd name="T11" fmla="*/ 50 h 146"/>
                <a:gd name="T12" fmla="*/ 9 w 107"/>
                <a:gd name="T13" fmla="*/ 53 h 146"/>
                <a:gd name="T14" fmla="*/ 19 w 107"/>
                <a:gd name="T15" fmla="*/ 54 h 146"/>
                <a:gd name="T16" fmla="*/ 38 w 107"/>
                <a:gd name="T17" fmla="*/ 40 h 146"/>
                <a:gd name="T18" fmla="*/ 35 w 107"/>
                <a:gd name="T19" fmla="*/ 13 h 146"/>
                <a:gd name="T20" fmla="*/ 15 w 107"/>
                <a:gd name="T21" fmla="*/ 0 h 146"/>
                <a:gd name="T22" fmla="*/ 13 w 107"/>
                <a:gd name="T23" fmla="*/ 28 h 146"/>
                <a:gd name="T24" fmla="*/ 29 w 107"/>
                <a:gd name="T25" fmla="*/ 39 h 146"/>
                <a:gd name="T26" fmla="*/ 13 w 107"/>
                <a:gd name="T27" fmla="*/ 49 h 146"/>
                <a:gd name="T28" fmla="*/ 59 w 107"/>
                <a:gd name="T29" fmla="*/ 15 h 146"/>
                <a:gd name="T30" fmla="*/ 59 w 107"/>
                <a:gd name="T31" fmla="*/ 54 h 146"/>
                <a:gd name="T32" fmla="*/ 59 w 107"/>
                <a:gd name="T33" fmla="*/ 15 h 146"/>
                <a:gd name="T34" fmla="*/ 66 w 107"/>
                <a:gd name="T35" fmla="*/ 33 h 146"/>
                <a:gd name="T36" fmla="*/ 52 w 107"/>
                <a:gd name="T37" fmla="*/ 35 h 146"/>
                <a:gd name="T38" fmla="*/ 107 w 107"/>
                <a:gd name="T39" fmla="*/ 34 h 146"/>
                <a:gd name="T40" fmla="*/ 80 w 107"/>
                <a:gd name="T41" fmla="*/ 36 h 146"/>
                <a:gd name="T42" fmla="*/ 107 w 107"/>
                <a:gd name="T43" fmla="*/ 45 h 146"/>
                <a:gd name="T44" fmla="*/ 96 w 107"/>
                <a:gd name="T45" fmla="*/ 49 h 146"/>
                <a:gd name="T46" fmla="*/ 107 w 107"/>
                <a:gd name="T47" fmla="*/ 34 h 146"/>
                <a:gd name="T48" fmla="*/ 94 w 107"/>
                <a:gd name="T49" fmla="*/ 19 h 146"/>
                <a:gd name="T50" fmla="*/ 87 w 107"/>
                <a:gd name="T51" fmla="*/ 30 h 146"/>
                <a:gd name="T52" fmla="*/ 17 w 107"/>
                <a:gd name="T53" fmla="*/ 129 h 146"/>
                <a:gd name="T54" fmla="*/ 13 w 107"/>
                <a:gd name="T55" fmla="*/ 83 h 146"/>
                <a:gd name="T56" fmla="*/ 18 w 107"/>
                <a:gd name="T57" fmla="*/ 79 h 146"/>
                <a:gd name="T58" fmla="*/ 0 w 107"/>
                <a:gd name="T59" fmla="*/ 82 h 146"/>
                <a:gd name="T60" fmla="*/ 5 w 107"/>
                <a:gd name="T61" fmla="*/ 128 h 146"/>
                <a:gd name="T62" fmla="*/ 0 w 107"/>
                <a:gd name="T63" fmla="*/ 132 h 146"/>
                <a:gd name="T64" fmla="*/ 57 w 107"/>
                <a:gd name="T65" fmla="*/ 132 h 146"/>
                <a:gd name="T66" fmla="*/ 53 w 107"/>
                <a:gd name="T67" fmla="*/ 128 h 146"/>
                <a:gd name="T68" fmla="*/ 44 w 107"/>
                <a:gd name="T69" fmla="*/ 94 h 146"/>
                <a:gd name="T70" fmla="*/ 34 w 107"/>
                <a:gd name="T71" fmla="*/ 94 h 146"/>
                <a:gd name="T72" fmla="*/ 23 w 107"/>
                <a:gd name="T73" fmla="*/ 96 h 146"/>
                <a:gd name="T74" fmla="*/ 27 w 107"/>
                <a:gd name="T75" fmla="*/ 100 h 146"/>
                <a:gd name="T76" fmla="*/ 23 w 107"/>
                <a:gd name="T77" fmla="*/ 129 h 146"/>
                <a:gd name="T78" fmla="*/ 38 w 107"/>
                <a:gd name="T79" fmla="*/ 132 h 146"/>
                <a:gd name="T80" fmla="*/ 34 w 107"/>
                <a:gd name="T81" fmla="*/ 128 h 146"/>
                <a:gd name="T82" fmla="*/ 42 w 107"/>
                <a:gd name="T83" fmla="*/ 99 h 146"/>
                <a:gd name="T84" fmla="*/ 46 w 107"/>
                <a:gd name="T85" fmla="*/ 128 h 146"/>
                <a:gd name="T86" fmla="*/ 42 w 107"/>
                <a:gd name="T87" fmla="*/ 132 h 146"/>
                <a:gd name="T88" fmla="*/ 93 w 107"/>
                <a:gd name="T89" fmla="*/ 99 h 146"/>
                <a:gd name="T90" fmla="*/ 87 w 107"/>
                <a:gd name="T91" fmla="*/ 95 h 146"/>
                <a:gd name="T92" fmla="*/ 84 w 107"/>
                <a:gd name="T93" fmla="*/ 95 h 146"/>
                <a:gd name="T94" fmla="*/ 76 w 107"/>
                <a:gd name="T95" fmla="*/ 93 h 146"/>
                <a:gd name="T96" fmla="*/ 70 w 107"/>
                <a:gd name="T97" fmla="*/ 117 h 146"/>
                <a:gd name="T98" fmla="*/ 67 w 107"/>
                <a:gd name="T99" fmla="*/ 130 h 146"/>
                <a:gd name="T100" fmla="*/ 75 w 107"/>
                <a:gd name="T101" fmla="*/ 146 h 146"/>
                <a:gd name="T102" fmla="*/ 82 w 107"/>
                <a:gd name="T103" fmla="*/ 124 h 146"/>
                <a:gd name="T104" fmla="*/ 70 w 107"/>
                <a:gd name="T105" fmla="*/ 122 h 146"/>
                <a:gd name="T106" fmla="*/ 77 w 107"/>
                <a:gd name="T107" fmla="*/ 119 h 146"/>
                <a:gd name="T108" fmla="*/ 87 w 107"/>
                <a:gd name="T109" fmla="*/ 99 h 146"/>
                <a:gd name="T110" fmla="*/ 76 w 107"/>
                <a:gd name="T111" fmla="*/ 97 h 146"/>
                <a:gd name="T112" fmla="*/ 77 w 107"/>
                <a:gd name="T113" fmla="*/ 115 h 146"/>
                <a:gd name="T114" fmla="*/ 76 w 107"/>
                <a:gd name="T115" fmla="*/ 97 h 146"/>
                <a:gd name="T116" fmla="*/ 88 w 107"/>
                <a:gd name="T117" fmla="*/ 135 h 146"/>
                <a:gd name="T118" fmla="*/ 68 w 107"/>
                <a:gd name="T119" fmla="*/ 136 h 146"/>
                <a:gd name="T120" fmla="*/ 74 w 107"/>
                <a:gd name="T121" fmla="*/ 131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7" h="146">
                  <a:moveTo>
                    <a:pt x="13" y="24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15" y="4"/>
                    <a:pt x="16" y="3"/>
                    <a:pt x="17" y="3"/>
                  </a:cubicBezTo>
                  <a:cubicBezTo>
                    <a:pt x="23" y="3"/>
                    <a:pt x="26" y="7"/>
                    <a:pt x="26" y="13"/>
                  </a:cubicBezTo>
                  <a:cubicBezTo>
                    <a:pt x="26" y="21"/>
                    <a:pt x="23" y="24"/>
                    <a:pt x="16" y="24"/>
                  </a:cubicBezTo>
                  <a:cubicBezTo>
                    <a:pt x="13" y="24"/>
                    <a:pt x="13" y="24"/>
                    <a:pt x="13" y="24"/>
                  </a:cubicBezTo>
                  <a:close/>
                  <a:moveTo>
                    <a:pt x="9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10" y="53"/>
                    <a:pt x="12" y="53"/>
                    <a:pt x="15" y="54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5" y="54"/>
                    <a:pt x="27" y="53"/>
                    <a:pt x="30" y="52"/>
                  </a:cubicBezTo>
                  <a:cubicBezTo>
                    <a:pt x="35" y="50"/>
                    <a:pt x="38" y="45"/>
                    <a:pt x="38" y="40"/>
                  </a:cubicBezTo>
                  <a:cubicBezTo>
                    <a:pt x="38" y="32"/>
                    <a:pt x="34" y="27"/>
                    <a:pt x="26" y="25"/>
                  </a:cubicBezTo>
                  <a:cubicBezTo>
                    <a:pt x="32" y="22"/>
                    <a:pt x="35" y="18"/>
                    <a:pt x="35" y="13"/>
                  </a:cubicBezTo>
                  <a:cubicBezTo>
                    <a:pt x="35" y="5"/>
                    <a:pt x="29" y="0"/>
                    <a:pt x="20" y="0"/>
                  </a:cubicBezTo>
                  <a:cubicBezTo>
                    <a:pt x="20" y="0"/>
                    <a:pt x="18" y="0"/>
                    <a:pt x="15" y="0"/>
                  </a:cubicBezTo>
                  <a:cubicBezTo>
                    <a:pt x="9" y="1"/>
                    <a:pt x="9" y="1"/>
                    <a:pt x="9" y="1"/>
                  </a:cubicBezTo>
                  <a:close/>
                  <a:moveTo>
                    <a:pt x="13" y="28"/>
                  </a:moveTo>
                  <a:cubicBezTo>
                    <a:pt x="16" y="28"/>
                    <a:pt x="16" y="28"/>
                    <a:pt x="16" y="28"/>
                  </a:cubicBezTo>
                  <a:cubicBezTo>
                    <a:pt x="25" y="28"/>
                    <a:pt x="29" y="31"/>
                    <a:pt x="29" y="39"/>
                  </a:cubicBezTo>
                  <a:cubicBezTo>
                    <a:pt x="29" y="46"/>
                    <a:pt x="25" y="50"/>
                    <a:pt x="17" y="50"/>
                  </a:cubicBezTo>
                  <a:cubicBezTo>
                    <a:pt x="15" y="50"/>
                    <a:pt x="14" y="50"/>
                    <a:pt x="13" y="49"/>
                  </a:cubicBezTo>
                  <a:cubicBezTo>
                    <a:pt x="13" y="28"/>
                    <a:pt x="13" y="28"/>
                    <a:pt x="13" y="28"/>
                  </a:cubicBezTo>
                  <a:close/>
                  <a:moveTo>
                    <a:pt x="59" y="15"/>
                  </a:moveTo>
                  <a:cubicBezTo>
                    <a:pt x="50" y="15"/>
                    <a:pt x="44" y="23"/>
                    <a:pt x="44" y="35"/>
                  </a:cubicBezTo>
                  <a:cubicBezTo>
                    <a:pt x="44" y="46"/>
                    <a:pt x="50" y="54"/>
                    <a:pt x="59" y="54"/>
                  </a:cubicBezTo>
                  <a:cubicBezTo>
                    <a:pt x="68" y="54"/>
                    <a:pt x="74" y="46"/>
                    <a:pt x="74" y="34"/>
                  </a:cubicBezTo>
                  <a:cubicBezTo>
                    <a:pt x="74" y="23"/>
                    <a:pt x="68" y="15"/>
                    <a:pt x="59" y="15"/>
                  </a:cubicBezTo>
                  <a:close/>
                  <a:moveTo>
                    <a:pt x="59" y="19"/>
                  </a:moveTo>
                  <a:cubicBezTo>
                    <a:pt x="63" y="19"/>
                    <a:pt x="66" y="24"/>
                    <a:pt x="66" y="33"/>
                  </a:cubicBezTo>
                  <a:cubicBezTo>
                    <a:pt x="66" y="44"/>
                    <a:pt x="63" y="50"/>
                    <a:pt x="59" y="50"/>
                  </a:cubicBezTo>
                  <a:cubicBezTo>
                    <a:pt x="54" y="50"/>
                    <a:pt x="52" y="45"/>
                    <a:pt x="52" y="35"/>
                  </a:cubicBezTo>
                  <a:cubicBezTo>
                    <a:pt x="52" y="25"/>
                    <a:pt x="55" y="19"/>
                    <a:pt x="59" y="19"/>
                  </a:cubicBezTo>
                  <a:close/>
                  <a:moveTo>
                    <a:pt x="107" y="34"/>
                  </a:moveTo>
                  <a:cubicBezTo>
                    <a:pt x="107" y="21"/>
                    <a:pt x="103" y="15"/>
                    <a:pt x="94" y="15"/>
                  </a:cubicBezTo>
                  <a:cubicBezTo>
                    <a:pt x="85" y="15"/>
                    <a:pt x="80" y="23"/>
                    <a:pt x="80" y="36"/>
                  </a:cubicBezTo>
                  <a:cubicBezTo>
                    <a:pt x="80" y="48"/>
                    <a:pt x="85" y="54"/>
                    <a:pt x="94" y="54"/>
                  </a:cubicBezTo>
                  <a:cubicBezTo>
                    <a:pt x="100" y="54"/>
                    <a:pt x="103" y="52"/>
                    <a:pt x="107" y="45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1" y="47"/>
                    <a:pt x="99" y="49"/>
                    <a:pt x="96" y="49"/>
                  </a:cubicBezTo>
                  <a:cubicBezTo>
                    <a:pt x="91" y="49"/>
                    <a:pt x="88" y="44"/>
                    <a:pt x="87" y="34"/>
                  </a:cubicBezTo>
                  <a:cubicBezTo>
                    <a:pt x="107" y="34"/>
                    <a:pt x="107" y="34"/>
                    <a:pt x="107" y="34"/>
                  </a:cubicBezTo>
                  <a:close/>
                  <a:moveTo>
                    <a:pt x="87" y="30"/>
                  </a:moveTo>
                  <a:cubicBezTo>
                    <a:pt x="88" y="22"/>
                    <a:pt x="90" y="19"/>
                    <a:pt x="94" y="19"/>
                  </a:cubicBezTo>
                  <a:cubicBezTo>
                    <a:pt x="97" y="19"/>
                    <a:pt x="99" y="22"/>
                    <a:pt x="99" y="30"/>
                  </a:cubicBezTo>
                  <a:cubicBezTo>
                    <a:pt x="87" y="30"/>
                    <a:pt x="87" y="30"/>
                    <a:pt x="87" y="30"/>
                  </a:cubicBezTo>
                  <a:close/>
                  <a:moveTo>
                    <a:pt x="17" y="13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17" y="132"/>
                    <a:pt x="17" y="132"/>
                    <a:pt x="17" y="132"/>
                  </a:cubicBezTo>
                  <a:close/>
                  <a:moveTo>
                    <a:pt x="57" y="132"/>
                  </a:moveTo>
                  <a:cubicBezTo>
                    <a:pt x="57" y="129"/>
                    <a:pt x="57" y="129"/>
                    <a:pt x="57" y="129"/>
                  </a:cubicBezTo>
                  <a:cubicBezTo>
                    <a:pt x="53" y="128"/>
                    <a:pt x="53" y="128"/>
                    <a:pt x="53" y="128"/>
                  </a:cubicBezTo>
                  <a:cubicBezTo>
                    <a:pt x="53" y="104"/>
                    <a:pt x="53" y="104"/>
                    <a:pt x="53" y="104"/>
                  </a:cubicBezTo>
                  <a:cubicBezTo>
                    <a:pt x="53" y="98"/>
                    <a:pt x="50" y="94"/>
                    <a:pt x="44" y="94"/>
                  </a:cubicBezTo>
                  <a:cubicBezTo>
                    <a:pt x="41" y="94"/>
                    <a:pt x="39" y="95"/>
                    <a:pt x="34" y="98"/>
                  </a:cubicBezTo>
                  <a:cubicBezTo>
                    <a:pt x="34" y="94"/>
                    <a:pt x="34" y="94"/>
                    <a:pt x="34" y="94"/>
                  </a:cubicBezTo>
                  <a:cubicBezTo>
                    <a:pt x="32" y="94"/>
                    <a:pt x="32" y="94"/>
                    <a:pt x="32" y="94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7" y="100"/>
                    <a:pt x="27" y="100"/>
                    <a:pt x="27" y="100"/>
                  </a:cubicBezTo>
                  <a:cubicBezTo>
                    <a:pt x="27" y="128"/>
                    <a:pt x="27" y="128"/>
                    <a:pt x="27" y="128"/>
                  </a:cubicBezTo>
                  <a:cubicBezTo>
                    <a:pt x="23" y="129"/>
                    <a:pt x="23" y="129"/>
                    <a:pt x="23" y="129"/>
                  </a:cubicBezTo>
                  <a:cubicBezTo>
                    <a:pt x="23" y="132"/>
                    <a:pt x="23" y="132"/>
                    <a:pt x="23" y="132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29"/>
                    <a:pt x="38" y="129"/>
                    <a:pt x="38" y="129"/>
                  </a:cubicBezTo>
                  <a:cubicBezTo>
                    <a:pt x="34" y="128"/>
                    <a:pt x="34" y="128"/>
                    <a:pt x="34" y="128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37" y="100"/>
                    <a:pt x="39" y="99"/>
                    <a:pt x="42" y="99"/>
                  </a:cubicBezTo>
                  <a:cubicBezTo>
                    <a:pt x="45" y="99"/>
                    <a:pt x="46" y="101"/>
                    <a:pt x="46" y="106"/>
                  </a:cubicBezTo>
                  <a:cubicBezTo>
                    <a:pt x="46" y="128"/>
                    <a:pt x="46" y="128"/>
                    <a:pt x="46" y="128"/>
                  </a:cubicBezTo>
                  <a:cubicBezTo>
                    <a:pt x="42" y="129"/>
                    <a:pt x="42" y="129"/>
                    <a:pt x="42" y="129"/>
                  </a:cubicBezTo>
                  <a:cubicBezTo>
                    <a:pt x="42" y="132"/>
                    <a:pt x="42" y="132"/>
                    <a:pt x="42" y="132"/>
                  </a:cubicBezTo>
                  <a:cubicBezTo>
                    <a:pt x="57" y="132"/>
                    <a:pt x="57" y="132"/>
                    <a:pt x="57" y="132"/>
                  </a:cubicBezTo>
                  <a:close/>
                  <a:moveTo>
                    <a:pt x="93" y="99"/>
                  </a:moveTo>
                  <a:cubicBezTo>
                    <a:pt x="93" y="95"/>
                    <a:pt x="93" y="95"/>
                    <a:pt x="93" y="95"/>
                  </a:cubicBezTo>
                  <a:cubicBezTo>
                    <a:pt x="87" y="95"/>
                    <a:pt x="87" y="95"/>
                    <a:pt x="87" y="95"/>
                  </a:cubicBezTo>
                  <a:cubicBezTo>
                    <a:pt x="86" y="95"/>
                    <a:pt x="86" y="95"/>
                    <a:pt x="86" y="95"/>
                  </a:cubicBezTo>
                  <a:cubicBezTo>
                    <a:pt x="85" y="95"/>
                    <a:pt x="84" y="95"/>
                    <a:pt x="84" y="95"/>
                  </a:cubicBezTo>
                  <a:cubicBezTo>
                    <a:pt x="84" y="95"/>
                    <a:pt x="82" y="95"/>
                    <a:pt x="81" y="94"/>
                  </a:cubicBezTo>
                  <a:cubicBezTo>
                    <a:pt x="78" y="94"/>
                    <a:pt x="78" y="93"/>
                    <a:pt x="76" y="93"/>
                  </a:cubicBezTo>
                  <a:cubicBezTo>
                    <a:pt x="69" y="93"/>
                    <a:pt x="63" y="99"/>
                    <a:pt x="63" y="106"/>
                  </a:cubicBezTo>
                  <a:cubicBezTo>
                    <a:pt x="63" y="111"/>
                    <a:pt x="65" y="114"/>
                    <a:pt x="70" y="117"/>
                  </a:cubicBezTo>
                  <a:cubicBezTo>
                    <a:pt x="65" y="120"/>
                    <a:pt x="63" y="122"/>
                    <a:pt x="63" y="125"/>
                  </a:cubicBezTo>
                  <a:cubicBezTo>
                    <a:pt x="63" y="127"/>
                    <a:pt x="64" y="129"/>
                    <a:pt x="67" y="130"/>
                  </a:cubicBezTo>
                  <a:cubicBezTo>
                    <a:pt x="62" y="133"/>
                    <a:pt x="61" y="135"/>
                    <a:pt x="61" y="138"/>
                  </a:cubicBezTo>
                  <a:cubicBezTo>
                    <a:pt x="61" y="143"/>
                    <a:pt x="66" y="146"/>
                    <a:pt x="75" y="146"/>
                  </a:cubicBezTo>
                  <a:cubicBezTo>
                    <a:pt x="86" y="146"/>
                    <a:pt x="93" y="141"/>
                    <a:pt x="93" y="132"/>
                  </a:cubicBezTo>
                  <a:cubicBezTo>
                    <a:pt x="93" y="127"/>
                    <a:pt x="90" y="124"/>
                    <a:pt x="82" y="124"/>
                  </a:cubicBezTo>
                  <a:cubicBezTo>
                    <a:pt x="73" y="123"/>
                    <a:pt x="73" y="123"/>
                    <a:pt x="73" y="123"/>
                  </a:cubicBezTo>
                  <a:cubicBezTo>
                    <a:pt x="71" y="123"/>
                    <a:pt x="70" y="123"/>
                    <a:pt x="70" y="122"/>
                  </a:cubicBezTo>
                  <a:cubicBezTo>
                    <a:pt x="70" y="121"/>
                    <a:pt x="71" y="119"/>
                    <a:pt x="73" y="118"/>
                  </a:cubicBezTo>
                  <a:cubicBezTo>
                    <a:pt x="74" y="119"/>
                    <a:pt x="75" y="119"/>
                    <a:pt x="77" y="119"/>
                  </a:cubicBezTo>
                  <a:cubicBezTo>
                    <a:pt x="84" y="119"/>
                    <a:pt x="90" y="114"/>
                    <a:pt x="90" y="107"/>
                  </a:cubicBezTo>
                  <a:cubicBezTo>
                    <a:pt x="90" y="104"/>
                    <a:pt x="89" y="102"/>
                    <a:pt x="87" y="99"/>
                  </a:cubicBezTo>
                  <a:cubicBezTo>
                    <a:pt x="93" y="99"/>
                    <a:pt x="93" y="99"/>
                    <a:pt x="93" y="99"/>
                  </a:cubicBezTo>
                  <a:close/>
                  <a:moveTo>
                    <a:pt x="76" y="97"/>
                  </a:moveTo>
                  <a:cubicBezTo>
                    <a:pt x="80" y="97"/>
                    <a:pt x="82" y="100"/>
                    <a:pt x="82" y="107"/>
                  </a:cubicBezTo>
                  <a:cubicBezTo>
                    <a:pt x="82" y="112"/>
                    <a:pt x="80" y="115"/>
                    <a:pt x="77" y="115"/>
                  </a:cubicBezTo>
                  <a:cubicBezTo>
                    <a:pt x="73" y="115"/>
                    <a:pt x="71" y="112"/>
                    <a:pt x="71" y="106"/>
                  </a:cubicBezTo>
                  <a:cubicBezTo>
                    <a:pt x="71" y="100"/>
                    <a:pt x="73" y="97"/>
                    <a:pt x="76" y="97"/>
                  </a:cubicBezTo>
                  <a:close/>
                  <a:moveTo>
                    <a:pt x="74" y="131"/>
                  </a:moveTo>
                  <a:cubicBezTo>
                    <a:pt x="86" y="131"/>
                    <a:pt x="88" y="132"/>
                    <a:pt x="88" y="135"/>
                  </a:cubicBezTo>
                  <a:cubicBezTo>
                    <a:pt x="88" y="139"/>
                    <a:pt x="83" y="142"/>
                    <a:pt x="76" y="142"/>
                  </a:cubicBezTo>
                  <a:cubicBezTo>
                    <a:pt x="71" y="142"/>
                    <a:pt x="68" y="140"/>
                    <a:pt x="68" y="136"/>
                  </a:cubicBezTo>
                  <a:cubicBezTo>
                    <a:pt x="68" y="134"/>
                    <a:pt x="69" y="132"/>
                    <a:pt x="71" y="131"/>
                  </a:cubicBezTo>
                  <a:cubicBezTo>
                    <a:pt x="74" y="131"/>
                    <a:pt x="74" y="131"/>
                    <a:pt x="74" y="1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6" name="Freeform 6"/>
            <p:cNvSpPr>
              <a:spLocks noEditPoints="1"/>
            </p:cNvSpPr>
            <p:nvPr/>
          </p:nvSpPr>
          <p:spPr bwMode="auto">
            <a:xfrm>
              <a:off x="2103438" y="-793750"/>
              <a:ext cx="547687" cy="547687"/>
            </a:xfrm>
            <a:custGeom>
              <a:avLst/>
              <a:gdLst>
                <a:gd name="T0" fmla="*/ 33 w 146"/>
                <a:gd name="T1" fmla="*/ 134 h 146"/>
                <a:gd name="T2" fmla="*/ 12 w 146"/>
                <a:gd name="T3" fmla="*/ 113 h 146"/>
                <a:gd name="T4" fmla="*/ 0 w 146"/>
                <a:gd name="T5" fmla="*/ 73 h 146"/>
                <a:gd name="T6" fmla="*/ 73 w 146"/>
                <a:gd name="T7" fmla="*/ 0 h 146"/>
                <a:gd name="T8" fmla="*/ 146 w 146"/>
                <a:gd name="T9" fmla="*/ 73 h 146"/>
                <a:gd name="T10" fmla="*/ 130 w 146"/>
                <a:gd name="T11" fmla="*/ 119 h 146"/>
                <a:gd name="T12" fmla="*/ 113 w 146"/>
                <a:gd name="T13" fmla="*/ 134 h 146"/>
                <a:gd name="T14" fmla="*/ 113 w 146"/>
                <a:gd name="T15" fmla="*/ 91 h 146"/>
                <a:gd name="T16" fmla="*/ 121 w 146"/>
                <a:gd name="T17" fmla="*/ 91 h 146"/>
                <a:gd name="T18" fmla="*/ 121 w 146"/>
                <a:gd name="T19" fmla="*/ 121 h 146"/>
                <a:gd name="T20" fmla="*/ 131 w 146"/>
                <a:gd name="T21" fmla="*/ 106 h 146"/>
                <a:gd name="T22" fmla="*/ 139 w 146"/>
                <a:gd name="T23" fmla="*/ 73 h 146"/>
                <a:gd name="T24" fmla="*/ 73 w 146"/>
                <a:gd name="T25" fmla="*/ 6 h 146"/>
                <a:gd name="T26" fmla="*/ 7 w 146"/>
                <a:gd name="T27" fmla="*/ 74 h 146"/>
                <a:gd name="T28" fmla="*/ 26 w 146"/>
                <a:gd name="T29" fmla="*/ 121 h 146"/>
                <a:gd name="T30" fmla="*/ 26 w 146"/>
                <a:gd name="T31" fmla="*/ 91 h 146"/>
                <a:gd name="T32" fmla="*/ 33 w 146"/>
                <a:gd name="T33" fmla="*/ 91 h 146"/>
                <a:gd name="T34" fmla="*/ 33 w 146"/>
                <a:gd name="T35" fmla="*/ 134 h 146"/>
                <a:gd name="T36" fmla="*/ 48 w 146"/>
                <a:gd name="T37" fmla="*/ 142 h 146"/>
                <a:gd name="T38" fmla="*/ 40 w 146"/>
                <a:gd name="T39" fmla="*/ 138 h 146"/>
                <a:gd name="T40" fmla="*/ 40 w 146"/>
                <a:gd name="T41" fmla="*/ 91 h 146"/>
                <a:gd name="T42" fmla="*/ 48 w 146"/>
                <a:gd name="T43" fmla="*/ 91 h 146"/>
                <a:gd name="T44" fmla="*/ 48 w 146"/>
                <a:gd name="T45" fmla="*/ 142 h 146"/>
                <a:gd name="T46" fmla="*/ 62 w 146"/>
                <a:gd name="T47" fmla="*/ 145 h 146"/>
                <a:gd name="T48" fmla="*/ 58 w 146"/>
                <a:gd name="T49" fmla="*/ 145 h 146"/>
                <a:gd name="T50" fmla="*/ 55 w 146"/>
                <a:gd name="T51" fmla="*/ 144 h 146"/>
                <a:gd name="T52" fmla="*/ 55 w 146"/>
                <a:gd name="T53" fmla="*/ 44 h 146"/>
                <a:gd name="T54" fmla="*/ 62 w 146"/>
                <a:gd name="T55" fmla="*/ 44 h 146"/>
                <a:gd name="T56" fmla="*/ 62 w 146"/>
                <a:gd name="T57" fmla="*/ 145 h 146"/>
                <a:gd name="T58" fmla="*/ 77 w 146"/>
                <a:gd name="T59" fmla="*/ 146 h 146"/>
                <a:gd name="T60" fmla="*/ 74 w 146"/>
                <a:gd name="T61" fmla="*/ 146 h 146"/>
                <a:gd name="T62" fmla="*/ 70 w 146"/>
                <a:gd name="T63" fmla="*/ 146 h 146"/>
                <a:gd name="T64" fmla="*/ 70 w 146"/>
                <a:gd name="T65" fmla="*/ 44 h 146"/>
                <a:gd name="T66" fmla="*/ 77 w 146"/>
                <a:gd name="T67" fmla="*/ 44 h 146"/>
                <a:gd name="T68" fmla="*/ 77 w 146"/>
                <a:gd name="T69" fmla="*/ 146 h 146"/>
                <a:gd name="T70" fmla="*/ 91 w 146"/>
                <a:gd name="T71" fmla="*/ 144 h 146"/>
                <a:gd name="T72" fmla="*/ 84 w 146"/>
                <a:gd name="T73" fmla="*/ 146 h 146"/>
                <a:gd name="T74" fmla="*/ 84 w 146"/>
                <a:gd name="T75" fmla="*/ 44 h 146"/>
                <a:gd name="T76" fmla="*/ 91 w 146"/>
                <a:gd name="T77" fmla="*/ 44 h 146"/>
                <a:gd name="T78" fmla="*/ 91 w 146"/>
                <a:gd name="T79" fmla="*/ 144 h 146"/>
                <a:gd name="T80" fmla="*/ 91 w 146"/>
                <a:gd name="T81" fmla="*/ 39 h 146"/>
                <a:gd name="T82" fmla="*/ 73 w 146"/>
                <a:gd name="T83" fmla="*/ 24 h 146"/>
                <a:gd name="T84" fmla="*/ 55 w 146"/>
                <a:gd name="T85" fmla="*/ 39 h 146"/>
                <a:gd name="T86" fmla="*/ 51 w 146"/>
                <a:gd name="T87" fmla="*/ 33 h 146"/>
                <a:gd name="T88" fmla="*/ 73 w 146"/>
                <a:gd name="T89" fmla="*/ 16 h 146"/>
                <a:gd name="T90" fmla="*/ 95 w 146"/>
                <a:gd name="T91" fmla="*/ 33 h 146"/>
                <a:gd name="T92" fmla="*/ 91 w 146"/>
                <a:gd name="T93" fmla="*/ 39 h 146"/>
                <a:gd name="T94" fmla="*/ 106 w 146"/>
                <a:gd name="T95" fmla="*/ 138 h 146"/>
                <a:gd name="T96" fmla="*/ 99 w 146"/>
                <a:gd name="T97" fmla="*/ 142 h 146"/>
                <a:gd name="T98" fmla="*/ 99 w 146"/>
                <a:gd name="T99" fmla="*/ 91 h 146"/>
                <a:gd name="T100" fmla="*/ 106 w 146"/>
                <a:gd name="T101" fmla="*/ 91 h 146"/>
                <a:gd name="T102" fmla="*/ 106 w 146"/>
                <a:gd name="T103" fmla="*/ 13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6" h="146">
                  <a:moveTo>
                    <a:pt x="33" y="134"/>
                  </a:moveTo>
                  <a:cubicBezTo>
                    <a:pt x="23" y="127"/>
                    <a:pt x="17" y="121"/>
                    <a:pt x="12" y="113"/>
                  </a:cubicBezTo>
                  <a:cubicBezTo>
                    <a:pt x="4" y="101"/>
                    <a:pt x="0" y="87"/>
                    <a:pt x="0" y="73"/>
                  </a:cubicBez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6" y="33"/>
                    <a:pt x="146" y="73"/>
                  </a:cubicBezTo>
                  <a:cubicBezTo>
                    <a:pt x="146" y="90"/>
                    <a:pt x="140" y="106"/>
                    <a:pt x="130" y="119"/>
                  </a:cubicBezTo>
                  <a:cubicBezTo>
                    <a:pt x="126" y="124"/>
                    <a:pt x="123" y="127"/>
                    <a:pt x="113" y="134"/>
                  </a:cubicBezTo>
                  <a:cubicBezTo>
                    <a:pt x="113" y="91"/>
                    <a:pt x="113" y="91"/>
                    <a:pt x="113" y="91"/>
                  </a:cubicBezTo>
                  <a:cubicBezTo>
                    <a:pt x="121" y="91"/>
                    <a:pt x="121" y="91"/>
                    <a:pt x="121" y="9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6" y="114"/>
                    <a:pt x="128" y="110"/>
                    <a:pt x="131" y="106"/>
                  </a:cubicBezTo>
                  <a:cubicBezTo>
                    <a:pt x="136" y="96"/>
                    <a:pt x="139" y="85"/>
                    <a:pt x="139" y="73"/>
                  </a:cubicBezTo>
                  <a:cubicBezTo>
                    <a:pt x="139" y="36"/>
                    <a:pt x="110" y="6"/>
                    <a:pt x="73" y="6"/>
                  </a:cubicBezTo>
                  <a:cubicBezTo>
                    <a:pt x="36" y="6"/>
                    <a:pt x="7" y="36"/>
                    <a:pt x="7" y="74"/>
                  </a:cubicBezTo>
                  <a:cubicBezTo>
                    <a:pt x="7" y="91"/>
                    <a:pt x="13" y="106"/>
                    <a:pt x="26" y="121"/>
                  </a:cubicBezTo>
                  <a:cubicBezTo>
                    <a:pt x="26" y="91"/>
                    <a:pt x="26" y="91"/>
                    <a:pt x="26" y="91"/>
                  </a:cubicBezTo>
                  <a:cubicBezTo>
                    <a:pt x="33" y="91"/>
                    <a:pt x="33" y="91"/>
                    <a:pt x="33" y="91"/>
                  </a:cubicBezTo>
                  <a:cubicBezTo>
                    <a:pt x="33" y="134"/>
                    <a:pt x="33" y="134"/>
                    <a:pt x="33" y="134"/>
                  </a:cubicBezTo>
                  <a:close/>
                  <a:moveTo>
                    <a:pt x="48" y="142"/>
                  </a:moveTo>
                  <a:cubicBezTo>
                    <a:pt x="46" y="141"/>
                    <a:pt x="43" y="140"/>
                    <a:pt x="40" y="138"/>
                  </a:cubicBezTo>
                  <a:cubicBezTo>
                    <a:pt x="40" y="91"/>
                    <a:pt x="40" y="91"/>
                    <a:pt x="40" y="91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48" y="142"/>
                    <a:pt x="48" y="142"/>
                    <a:pt x="48" y="142"/>
                  </a:cubicBezTo>
                  <a:close/>
                  <a:moveTo>
                    <a:pt x="62" y="145"/>
                  </a:moveTo>
                  <a:cubicBezTo>
                    <a:pt x="60" y="145"/>
                    <a:pt x="59" y="145"/>
                    <a:pt x="58" y="145"/>
                  </a:cubicBezTo>
                  <a:cubicBezTo>
                    <a:pt x="58" y="144"/>
                    <a:pt x="57" y="144"/>
                    <a:pt x="55" y="1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145"/>
                    <a:pt x="62" y="145"/>
                    <a:pt x="62" y="145"/>
                  </a:cubicBezTo>
                  <a:close/>
                  <a:moveTo>
                    <a:pt x="77" y="146"/>
                  </a:moveTo>
                  <a:cubicBezTo>
                    <a:pt x="76" y="146"/>
                    <a:pt x="75" y="146"/>
                    <a:pt x="74" y="146"/>
                  </a:cubicBezTo>
                  <a:cubicBezTo>
                    <a:pt x="72" y="146"/>
                    <a:pt x="71" y="146"/>
                    <a:pt x="70" y="146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146"/>
                    <a:pt x="77" y="146"/>
                    <a:pt x="77" y="146"/>
                  </a:cubicBezTo>
                  <a:close/>
                  <a:moveTo>
                    <a:pt x="91" y="144"/>
                  </a:moveTo>
                  <a:cubicBezTo>
                    <a:pt x="89" y="144"/>
                    <a:pt x="87" y="145"/>
                    <a:pt x="84" y="146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91" y="144"/>
                    <a:pt x="91" y="144"/>
                    <a:pt x="91" y="144"/>
                  </a:cubicBezTo>
                  <a:close/>
                  <a:moveTo>
                    <a:pt x="91" y="39"/>
                  </a:moveTo>
                  <a:cubicBezTo>
                    <a:pt x="73" y="24"/>
                    <a:pt x="73" y="24"/>
                    <a:pt x="73" y="24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1" y="39"/>
                    <a:pt x="91" y="39"/>
                    <a:pt x="91" y="39"/>
                  </a:cubicBezTo>
                  <a:close/>
                  <a:moveTo>
                    <a:pt x="106" y="138"/>
                  </a:moveTo>
                  <a:cubicBezTo>
                    <a:pt x="104" y="139"/>
                    <a:pt x="102" y="140"/>
                    <a:pt x="99" y="142"/>
                  </a:cubicBezTo>
                  <a:cubicBezTo>
                    <a:pt x="99" y="91"/>
                    <a:pt x="99" y="91"/>
                    <a:pt x="99" y="91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6" y="138"/>
                    <a:pt x="106" y="138"/>
                    <a:pt x="106" y="1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/>
          </p:nvSpPr>
          <p:spPr bwMode="auto">
            <a:xfrm>
              <a:off x="3124200" y="-779463"/>
              <a:ext cx="449262" cy="509587"/>
            </a:xfrm>
            <a:custGeom>
              <a:avLst/>
              <a:gdLst>
                <a:gd name="T0" fmla="*/ 14 w 120"/>
                <a:gd name="T1" fmla="*/ 100 h 136"/>
                <a:gd name="T2" fmla="*/ 7 w 120"/>
                <a:gd name="T3" fmla="*/ 112 h 136"/>
                <a:gd name="T4" fmla="*/ 48 w 120"/>
                <a:gd name="T5" fmla="*/ 53 h 136"/>
                <a:gd name="T6" fmla="*/ 44 w 120"/>
                <a:gd name="T7" fmla="*/ 29 h 136"/>
                <a:gd name="T8" fmla="*/ 25 w 120"/>
                <a:gd name="T9" fmla="*/ 23 h 136"/>
                <a:gd name="T10" fmla="*/ 23 w 120"/>
                <a:gd name="T11" fmla="*/ 0 h 136"/>
                <a:gd name="T12" fmla="*/ 13 w 120"/>
                <a:gd name="T13" fmla="*/ 5 h 136"/>
                <a:gd name="T14" fmla="*/ 18 w 120"/>
                <a:gd name="T15" fmla="*/ 52 h 136"/>
                <a:gd name="T16" fmla="*/ 13 w 120"/>
                <a:gd name="T17" fmla="*/ 56 h 136"/>
                <a:gd name="T18" fmla="*/ 29 w 120"/>
                <a:gd name="T19" fmla="*/ 53 h 136"/>
                <a:gd name="T20" fmla="*/ 25 w 120"/>
                <a:gd name="T21" fmla="*/ 28 h 136"/>
                <a:gd name="T22" fmla="*/ 36 w 120"/>
                <a:gd name="T23" fmla="*/ 32 h 136"/>
                <a:gd name="T24" fmla="*/ 33 w 120"/>
                <a:gd name="T25" fmla="*/ 53 h 136"/>
                <a:gd name="T26" fmla="*/ 48 w 120"/>
                <a:gd name="T27" fmla="*/ 56 h 136"/>
                <a:gd name="T28" fmla="*/ 62 w 120"/>
                <a:gd name="T29" fmla="*/ 18 h 136"/>
                <a:gd name="T30" fmla="*/ 53 w 120"/>
                <a:gd name="T31" fmla="*/ 23 h 136"/>
                <a:gd name="T32" fmla="*/ 58 w 120"/>
                <a:gd name="T33" fmla="*/ 52 h 136"/>
                <a:gd name="T34" fmla="*/ 53 w 120"/>
                <a:gd name="T35" fmla="*/ 56 h 136"/>
                <a:gd name="T36" fmla="*/ 70 w 120"/>
                <a:gd name="T37" fmla="*/ 53 h 136"/>
                <a:gd name="T38" fmla="*/ 65 w 120"/>
                <a:gd name="T39" fmla="*/ 32 h 136"/>
                <a:gd name="T40" fmla="*/ 74 w 120"/>
                <a:gd name="T41" fmla="*/ 28 h 136"/>
                <a:gd name="T42" fmla="*/ 72 w 120"/>
                <a:gd name="T43" fmla="*/ 19 h 136"/>
                <a:gd name="T44" fmla="*/ 65 w 120"/>
                <a:gd name="T45" fmla="*/ 18 h 136"/>
                <a:gd name="T46" fmla="*/ 83 w 120"/>
                <a:gd name="T47" fmla="*/ 5 h 136"/>
                <a:gd name="T48" fmla="*/ 92 w 120"/>
                <a:gd name="T49" fmla="*/ 5 h 136"/>
                <a:gd name="T50" fmla="*/ 96 w 120"/>
                <a:gd name="T51" fmla="*/ 56 h 136"/>
                <a:gd name="T52" fmla="*/ 92 w 120"/>
                <a:gd name="T53" fmla="*/ 52 h 136"/>
                <a:gd name="T54" fmla="*/ 90 w 120"/>
                <a:gd name="T55" fmla="*/ 19 h 136"/>
                <a:gd name="T56" fmla="*/ 80 w 120"/>
                <a:gd name="T57" fmla="*/ 24 h 136"/>
                <a:gd name="T58" fmla="*/ 84 w 120"/>
                <a:gd name="T59" fmla="*/ 52 h 136"/>
                <a:gd name="T60" fmla="*/ 80 w 120"/>
                <a:gd name="T61" fmla="*/ 56 h 136"/>
                <a:gd name="T62" fmla="*/ 27 w 120"/>
                <a:gd name="T63" fmla="*/ 115 h 136"/>
                <a:gd name="T64" fmla="*/ 14 w 120"/>
                <a:gd name="T65" fmla="*/ 97 h 136"/>
                <a:gd name="T66" fmla="*/ 14 w 120"/>
                <a:gd name="T67" fmla="*/ 136 h 136"/>
                <a:gd name="T68" fmla="*/ 23 w 120"/>
                <a:gd name="T69" fmla="*/ 125 h 136"/>
                <a:gd name="T70" fmla="*/ 7 w 120"/>
                <a:gd name="T71" fmla="*/ 115 h 136"/>
                <a:gd name="T72" fmla="*/ 47 w 120"/>
                <a:gd name="T73" fmla="*/ 135 h 136"/>
                <a:gd name="T74" fmla="*/ 43 w 120"/>
                <a:gd name="T75" fmla="*/ 131 h 136"/>
                <a:gd name="T76" fmla="*/ 41 w 120"/>
                <a:gd name="T77" fmla="*/ 78 h 136"/>
                <a:gd name="T78" fmla="*/ 31 w 120"/>
                <a:gd name="T79" fmla="*/ 83 h 136"/>
                <a:gd name="T80" fmla="*/ 36 w 120"/>
                <a:gd name="T81" fmla="*/ 131 h 136"/>
                <a:gd name="T82" fmla="*/ 31 w 120"/>
                <a:gd name="T83" fmla="*/ 135 h 136"/>
                <a:gd name="T84" fmla="*/ 87 w 120"/>
                <a:gd name="T85" fmla="*/ 135 h 136"/>
                <a:gd name="T86" fmla="*/ 83 w 120"/>
                <a:gd name="T87" fmla="*/ 131 h 136"/>
                <a:gd name="T88" fmla="*/ 74 w 120"/>
                <a:gd name="T89" fmla="*/ 97 h 136"/>
                <a:gd name="T90" fmla="*/ 64 w 120"/>
                <a:gd name="T91" fmla="*/ 78 h 136"/>
                <a:gd name="T92" fmla="*/ 53 w 120"/>
                <a:gd name="T93" fmla="*/ 81 h 136"/>
                <a:gd name="T94" fmla="*/ 57 w 120"/>
                <a:gd name="T95" fmla="*/ 84 h 136"/>
                <a:gd name="T96" fmla="*/ 52 w 120"/>
                <a:gd name="T97" fmla="*/ 132 h 136"/>
                <a:gd name="T98" fmla="*/ 68 w 120"/>
                <a:gd name="T99" fmla="*/ 135 h 136"/>
                <a:gd name="T100" fmla="*/ 64 w 120"/>
                <a:gd name="T101" fmla="*/ 131 h 136"/>
                <a:gd name="T102" fmla="*/ 71 w 120"/>
                <a:gd name="T103" fmla="*/ 103 h 136"/>
                <a:gd name="T104" fmla="*/ 76 w 120"/>
                <a:gd name="T105" fmla="*/ 131 h 136"/>
                <a:gd name="T106" fmla="*/ 72 w 120"/>
                <a:gd name="T107" fmla="*/ 135 h 136"/>
                <a:gd name="T108" fmla="*/ 120 w 120"/>
                <a:gd name="T109" fmla="*/ 115 h 136"/>
                <a:gd name="T110" fmla="*/ 107 w 120"/>
                <a:gd name="T111" fmla="*/ 97 h 136"/>
                <a:gd name="T112" fmla="*/ 107 w 120"/>
                <a:gd name="T113" fmla="*/ 136 h 136"/>
                <a:gd name="T114" fmla="*/ 116 w 120"/>
                <a:gd name="T115" fmla="*/ 125 h 136"/>
                <a:gd name="T116" fmla="*/ 100 w 120"/>
                <a:gd name="T117" fmla="*/ 115 h 136"/>
                <a:gd name="T118" fmla="*/ 100 w 120"/>
                <a:gd name="T119" fmla="*/ 112 h 136"/>
                <a:gd name="T120" fmla="*/ 112 w 120"/>
                <a:gd name="T121" fmla="*/ 11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" h="136">
                  <a:moveTo>
                    <a:pt x="7" y="112"/>
                  </a:moveTo>
                  <a:cubicBezTo>
                    <a:pt x="8" y="104"/>
                    <a:pt x="10" y="100"/>
                    <a:pt x="14" y="100"/>
                  </a:cubicBezTo>
                  <a:cubicBezTo>
                    <a:pt x="17" y="100"/>
                    <a:pt x="19" y="104"/>
                    <a:pt x="19" y="112"/>
                  </a:cubicBezTo>
                  <a:cubicBezTo>
                    <a:pt x="7" y="112"/>
                    <a:pt x="7" y="112"/>
                    <a:pt x="7" y="112"/>
                  </a:cubicBezTo>
                  <a:close/>
                  <a:moveTo>
                    <a:pt x="48" y="56"/>
                  </a:moveTo>
                  <a:cubicBezTo>
                    <a:pt x="48" y="53"/>
                    <a:pt x="48" y="53"/>
                    <a:pt x="48" y="53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2"/>
                    <a:pt x="41" y="19"/>
                    <a:pt x="35" y="19"/>
                  </a:cubicBezTo>
                  <a:cubicBezTo>
                    <a:pt x="32" y="19"/>
                    <a:pt x="29" y="20"/>
                    <a:pt x="25" y="2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8" y="25"/>
                    <a:pt x="30" y="24"/>
                    <a:pt x="32" y="24"/>
                  </a:cubicBezTo>
                  <a:cubicBezTo>
                    <a:pt x="35" y="24"/>
                    <a:pt x="36" y="26"/>
                    <a:pt x="36" y="32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48" y="56"/>
                    <a:pt x="48" y="56"/>
                    <a:pt x="48" y="56"/>
                  </a:cubicBezTo>
                  <a:close/>
                  <a:moveTo>
                    <a:pt x="65" y="18"/>
                  </a:moveTo>
                  <a:cubicBezTo>
                    <a:pt x="62" y="18"/>
                    <a:pt x="62" y="18"/>
                    <a:pt x="62" y="18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5" y="30"/>
                    <a:pt x="67" y="27"/>
                    <a:pt x="70" y="26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6" y="26"/>
                    <a:pt x="76" y="25"/>
                    <a:pt x="76" y="23"/>
                  </a:cubicBezTo>
                  <a:cubicBezTo>
                    <a:pt x="76" y="21"/>
                    <a:pt x="75" y="19"/>
                    <a:pt x="72" y="19"/>
                  </a:cubicBezTo>
                  <a:cubicBezTo>
                    <a:pt x="69" y="19"/>
                    <a:pt x="68" y="20"/>
                    <a:pt x="65" y="26"/>
                  </a:cubicBezTo>
                  <a:cubicBezTo>
                    <a:pt x="65" y="18"/>
                    <a:pt x="65" y="18"/>
                    <a:pt x="65" y="18"/>
                  </a:cubicBezTo>
                  <a:close/>
                  <a:moveTo>
                    <a:pt x="88" y="0"/>
                  </a:moveTo>
                  <a:cubicBezTo>
                    <a:pt x="85" y="0"/>
                    <a:pt x="83" y="2"/>
                    <a:pt x="83" y="5"/>
                  </a:cubicBezTo>
                  <a:cubicBezTo>
                    <a:pt x="83" y="8"/>
                    <a:pt x="85" y="10"/>
                    <a:pt x="88" y="10"/>
                  </a:cubicBezTo>
                  <a:cubicBezTo>
                    <a:pt x="90" y="10"/>
                    <a:pt x="92" y="8"/>
                    <a:pt x="92" y="5"/>
                  </a:cubicBezTo>
                  <a:cubicBezTo>
                    <a:pt x="92" y="2"/>
                    <a:pt x="90" y="0"/>
                    <a:pt x="88" y="0"/>
                  </a:cubicBezTo>
                  <a:close/>
                  <a:moveTo>
                    <a:pt x="96" y="56"/>
                  </a:moveTo>
                  <a:cubicBezTo>
                    <a:pt x="96" y="53"/>
                    <a:pt x="96" y="53"/>
                    <a:pt x="96" y="53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19"/>
                    <a:pt x="92" y="19"/>
                    <a:pt x="92" y="19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80" y="21"/>
                    <a:pt x="80" y="21"/>
                    <a:pt x="80" y="21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0" y="53"/>
                    <a:pt x="80" y="53"/>
                    <a:pt x="80" y="53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96" y="56"/>
                    <a:pt x="96" y="56"/>
                    <a:pt x="96" y="56"/>
                  </a:cubicBezTo>
                  <a:close/>
                  <a:moveTo>
                    <a:pt x="27" y="115"/>
                  </a:moveTo>
                  <a:cubicBezTo>
                    <a:pt x="27" y="110"/>
                    <a:pt x="26" y="108"/>
                    <a:pt x="26" y="106"/>
                  </a:cubicBezTo>
                  <a:cubicBezTo>
                    <a:pt x="24" y="100"/>
                    <a:pt x="20" y="97"/>
                    <a:pt x="14" y="97"/>
                  </a:cubicBezTo>
                  <a:cubicBezTo>
                    <a:pt x="5" y="97"/>
                    <a:pt x="0" y="104"/>
                    <a:pt x="0" y="117"/>
                  </a:cubicBezTo>
                  <a:cubicBezTo>
                    <a:pt x="0" y="129"/>
                    <a:pt x="5" y="136"/>
                    <a:pt x="14" y="136"/>
                  </a:cubicBezTo>
                  <a:cubicBezTo>
                    <a:pt x="20" y="136"/>
                    <a:pt x="23" y="133"/>
                    <a:pt x="27" y="127"/>
                  </a:cubicBezTo>
                  <a:cubicBezTo>
                    <a:pt x="23" y="125"/>
                    <a:pt x="23" y="125"/>
                    <a:pt x="23" y="125"/>
                  </a:cubicBezTo>
                  <a:cubicBezTo>
                    <a:pt x="21" y="129"/>
                    <a:pt x="19" y="130"/>
                    <a:pt x="16" y="130"/>
                  </a:cubicBezTo>
                  <a:cubicBezTo>
                    <a:pt x="11" y="130"/>
                    <a:pt x="8" y="126"/>
                    <a:pt x="7" y="115"/>
                  </a:cubicBezTo>
                  <a:cubicBezTo>
                    <a:pt x="27" y="115"/>
                    <a:pt x="27" y="115"/>
                    <a:pt x="27" y="115"/>
                  </a:cubicBezTo>
                  <a:close/>
                  <a:moveTo>
                    <a:pt x="47" y="135"/>
                  </a:moveTo>
                  <a:cubicBezTo>
                    <a:pt x="47" y="132"/>
                    <a:pt x="47" y="132"/>
                    <a:pt x="47" y="132"/>
                  </a:cubicBezTo>
                  <a:cubicBezTo>
                    <a:pt x="43" y="131"/>
                    <a:pt x="43" y="131"/>
                    <a:pt x="43" y="131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6" y="131"/>
                    <a:pt x="36" y="131"/>
                    <a:pt x="36" y="131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31" y="135"/>
                    <a:pt x="31" y="135"/>
                    <a:pt x="31" y="135"/>
                  </a:cubicBezTo>
                  <a:cubicBezTo>
                    <a:pt x="47" y="135"/>
                    <a:pt x="47" y="135"/>
                    <a:pt x="47" y="135"/>
                  </a:cubicBezTo>
                  <a:close/>
                  <a:moveTo>
                    <a:pt x="87" y="135"/>
                  </a:moveTo>
                  <a:cubicBezTo>
                    <a:pt x="87" y="132"/>
                    <a:pt x="87" y="132"/>
                    <a:pt x="87" y="132"/>
                  </a:cubicBezTo>
                  <a:cubicBezTo>
                    <a:pt x="83" y="131"/>
                    <a:pt x="83" y="131"/>
                    <a:pt x="83" y="131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83" y="101"/>
                    <a:pt x="80" y="97"/>
                    <a:pt x="74" y="97"/>
                  </a:cubicBezTo>
                  <a:cubicBezTo>
                    <a:pt x="71" y="97"/>
                    <a:pt x="68" y="98"/>
                    <a:pt x="64" y="102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131"/>
                    <a:pt x="57" y="131"/>
                    <a:pt x="57" y="131"/>
                  </a:cubicBezTo>
                  <a:cubicBezTo>
                    <a:pt x="52" y="132"/>
                    <a:pt x="52" y="132"/>
                    <a:pt x="52" y="132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8" y="132"/>
                    <a:pt x="68" y="132"/>
                    <a:pt x="68" y="132"/>
                  </a:cubicBezTo>
                  <a:cubicBezTo>
                    <a:pt x="64" y="131"/>
                    <a:pt x="64" y="131"/>
                    <a:pt x="64" y="131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7" y="104"/>
                    <a:pt x="69" y="103"/>
                    <a:pt x="71" y="103"/>
                  </a:cubicBezTo>
                  <a:cubicBezTo>
                    <a:pt x="74" y="103"/>
                    <a:pt x="76" y="105"/>
                    <a:pt x="76" y="110"/>
                  </a:cubicBezTo>
                  <a:cubicBezTo>
                    <a:pt x="76" y="131"/>
                    <a:pt x="76" y="131"/>
                    <a:pt x="76" y="131"/>
                  </a:cubicBezTo>
                  <a:cubicBezTo>
                    <a:pt x="72" y="132"/>
                    <a:pt x="72" y="132"/>
                    <a:pt x="72" y="132"/>
                  </a:cubicBezTo>
                  <a:cubicBezTo>
                    <a:pt x="72" y="135"/>
                    <a:pt x="72" y="135"/>
                    <a:pt x="72" y="135"/>
                  </a:cubicBezTo>
                  <a:cubicBezTo>
                    <a:pt x="87" y="135"/>
                    <a:pt x="87" y="135"/>
                    <a:pt x="87" y="135"/>
                  </a:cubicBezTo>
                  <a:close/>
                  <a:moveTo>
                    <a:pt x="120" y="115"/>
                  </a:moveTo>
                  <a:cubicBezTo>
                    <a:pt x="119" y="110"/>
                    <a:pt x="119" y="108"/>
                    <a:pt x="119" y="106"/>
                  </a:cubicBezTo>
                  <a:cubicBezTo>
                    <a:pt x="117" y="100"/>
                    <a:pt x="113" y="97"/>
                    <a:pt x="107" y="97"/>
                  </a:cubicBezTo>
                  <a:cubicBezTo>
                    <a:pt x="98" y="97"/>
                    <a:pt x="92" y="104"/>
                    <a:pt x="92" y="117"/>
                  </a:cubicBezTo>
                  <a:cubicBezTo>
                    <a:pt x="92" y="129"/>
                    <a:pt x="98" y="136"/>
                    <a:pt x="107" y="136"/>
                  </a:cubicBezTo>
                  <a:cubicBezTo>
                    <a:pt x="113" y="136"/>
                    <a:pt x="116" y="133"/>
                    <a:pt x="120" y="127"/>
                  </a:cubicBezTo>
                  <a:cubicBezTo>
                    <a:pt x="116" y="125"/>
                    <a:pt x="116" y="125"/>
                    <a:pt x="116" y="125"/>
                  </a:cubicBezTo>
                  <a:cubicBezTo>
                    <a:pt x="114" y="129"/>
                    <a:pt x="112" y="130"/>
                    <a:pt x="109" y="130"/>
                  </a:cubicBezTo>
                  <a:cubicBezTo>
                    <a:pt x="103" y="130"/>
                    <a:pt x="101" y="126"/>
                    <a:pt x="100" y="115"/>
                  </a:cubicBezTo>
                  <a:cubicBezTo>
                    <a:pt x="120" y="115"/>
                    <a:pt x="120" y="115"/>
                    <a:pt x="120" y="115"/>
                  </a:cubicBezTo>
                  <a:close/>
                  <a:moveTo>
                    <a:pt x="100" y="112"/>
                  </a:moveTo>
                  <a:cubicBezTo>
                    <a:pt x="101" y="104"/>
                    <a:pt x="103" y="100"/>
                    <a:pt x="106" y="100"/>
                  </a:cubicBezTo>
                  <a:cubicBezTo>
                    <a:pt x="110" y="100"/>
                    <a:pt x="112" y="104"/>
                    <a:pt x="112" y="112"/>
                  </a:cubicBezTo>
                  <a:cubicBezTo>
                    <a:pt x="100" y="112"/>
                    <a:pt x="100" y="112"/>
                    <a:pt x="100" y="1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3506788" y="-711200"/>
              <a:ext cx="490537" cy="438150"/>
            </a:xfrm>
            <a:custGeom>
              <a:avLst/>
              <a:gdLst>
                <a:gd name="T0" fmla="*/ 53 w 131"/>
                <a:gd name="T1" fmla="*/ 22 h 117"/>
                <a:gd name="T2" fmla="*/ 34 w 131"/>
                <a:gd name="T3" fmla="*/ 38 h 117"/>
                <a:gd name="T4" fmla="*/ 30 w 131"/>
                <a:gd name="T5" fmla="*/ 10 h 117"/>
                <a:gd name="T6" fmla="*/ 11 w 131"/>
                <a:gd name="T7" fmla="*/ 0 h 117"/>
                <a:gd name="T8" fmla="*/ 0 w 131"/>
                <a:gd name="T9" fmla="*/ 6 h 117"/>
                <a:gd name="T10" fmla="*/ 0 w 131"/>
                <a:gd name="T11" fmla="*/ 35 h 117"/>
                <a:gd name="T12" fmla="*/ 15 w 131"/>
                <a:gd name="T13" fmla="*/ 35 h 117"/>
                <a:gd name="T14" fmla="*/ 19 w 131"/>
                <a:gd name="T15" fmla="*/ 6 h 117"/>
                <a:gd name="T16" fmla="*/ 19 w 131"/>
                <a:gd name="T17" fmla="*/ 35 h 117"/>
                <a:gd name="T18" fmla="*/ 70 w 131"/>
                <a:gd name="T19" fmla="*/ 6 h 117"/>
                <a:gd name="T20" fmla="*/ 63 w 131"/>
                <a:gd name="T21" fmla="*/ 1 h 117"/>
                <a:gd name="T22" fmla="*/ 53 w 131"/>
                <a:gd name="T23" fmla="*/ 0 h 117"/>
                <a:gd name="T24" fmla="*/ 39 w 131"/>
                <a:gd name="T25" fmla="*/ 31 h 117"/>
                <a:gd name="T26" fmla="*/ 51 w 131"/>
                <a:gd name="T27" fmla="*/ 52 h 117"/>
                <a:gd name="T28" fmla="*/ 50 w 131"/>
                <a:gd name="T29" fmla="*/ 30 h 117"/>
                <a:gd name="T30" fmla="*/ 54 w 131"/>
                <a:gd name="T31" fmla="*/ 25 h 117"/>
                <a:gd name="T32" fmla="*/ 70 w 131"/>
                <a:gd name="T33" fmla="*/ 6 h 117"/>
                <a:gd name="T34" fmla="*/ 53 w 131"/>
                <a:gd name="T35" fmla="*/ 48 h 117"/>
                <a:gd name="T36" fmla="*/ 102 w 131"/>
                <a:gd name="T37" fmla="*/ 19 h 117"/>
                <a:gd name="T38" fmla="*/ 89 w 131"/>
                <a:gd name="T39" fmla="*/ 39 h 117"/>
                <a:gd name="T40" fmla="*/ 91 w 131"/>
                <a:gd name="T41" fmla="*/ 34 h 117"/>
                <a:gd name="T42" fmla="*/ 82 w 131"/>
                <a:gd name="T43" fmla="*/ 15 h 117"/>
                <a:gd name="T44" fmla="*/ 82 w 131"/>
                <a:gd name="T45" fmla="*/ 15 h 117"/>
                <a:gd name="T46" fmla="*/ 108 w 131"/>
                <a:gd name="T47" fmla="*/ 3 h 117"/>
                <a:gd name="T48" fmla="*/ 112 w 131"/>
                <a:gd name="T49" fmla="*/ 34 h 117"/>
                <a:gd name="T50" fmla="*/ 125 w 131"/>
                <a:gd name="T51" fmla="*/ 38 h 117"/>
                <a:gd name="T52" fmla="*/ 120 w 131"/>
                <a:gd name="T53" fmla="*/ 14 h 117"/>
                <a:gd name="T54" fmla="*/ 131 w 131"/>
                <a:gd name="T55" fmla="*/ 5 h 117"/>
                <a:gd name="T56" fmla="*/ 120 w 131"/>
                <a:gd name="T57" fmla="*/ 0 h 117"/>
                <a:gd name="T58" fmla="*/ 31 w 131"/>
                <a:gd name="T59" fmla="*/ 70 h 117"/>
                <a:gd name="T60" fmla="*/ 39 w 131"/>
                <a:gd name="T61" fmla="*/ 117 h 117"/>
                <a:gd name="T62" fmla="*/ 35 w 131"/>
                <a:gd name="T63" fmla="*/ 79 h 117"/>
                <a:gd name="T64" fmla="*/ 24 w 131"/>
                <a:gd name="T65" fmla="*/ 84 h 117"/>
                <a:gd name="T66" fmla="*/ 24 w 131"/>
                <a:gd name="T67" fmla="*/ 114 h 117"/>
                <a:gd name="T68" fmla="*/ 100 w 131"/>
                <a:gd name="T69" fmla="*/ 114 h 117"/>
                <a:gd name="T70" fmla="*/ 86 w 131"/>
                <a:gd name="T71" fmla="*/ 79 h 117"/>
                <a:gd name="T72" fmla="*/ 56 w 131"/>
                <a:gd name="T73" fmla="*/ 84 h 117"/>
                <a:gd name="T74" fmla="*/ 45 w 131"/>
                <a:gd name="T75" fmla="*/ 81 h 117"/>
                <a:gd name="T76" fmla="*/ 49 w 131"/>
                <a:gd name="T77" fmla="*/ 113 h 117"/>
                <a:gd name="T78" fmla="*/ 60 w 131"/>
                <a:gd name="T79" fmla="*/ 117 h 117"/>
                <a:gd name="T80" fmla="*/ 57 w 131"/>
                <a:gd name="T81" fmla="*/ 88 h 117"/>
                <a:gd name="T82" fmla="*/ 69 w 131"/>
                <a:gd name="T83" fmla="*/ 113 h 117"/>
                <a:gd name="T84" fmla="*/ 80 w 131"/>
                <a:gd name="T85" fmla="*/ 117 h 117"/>
                <a:gd name="T86" fmla="*/ 76 w 131"/>
                <a:gd name="T87" fmla="*/ 88 h 117"/>
                <a:gd name="T88" fmla="*/ 88 w 131"/>
                <a:gd name="T89" fmla="*/ 113 h 117"/>
                <a:gd name="T90" fmla="*/ 100 w 131"/>
                <a:gd name="T91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1" h="117">
                  <a:moveTo>
                    <a:pt x="53" y="3"/>
                  </a:moveTo>
                  <a:cubicBezTo>
                    <a:pt x="57" y="3"/>
                    <a:pt x="59" y="6"/>
                    <a:pt x="59" y="13"/>
                  </a:cubicBezTo>
                  <a:cubicBezTo>
                    <a:pt x="59" y="19"/>
                    <a:pt x="57" y="22"/>
                    <a:pt x="53" y="22"/>
                  </a:cubicBezTo>
                  <a:cubicBezTo>
                    <a:pt x="50" y="22"/>
                    <a:pt x="48" y="19"/>
                    <a:pt x="48" y="12"/>
                  </a:cubicBezTo>
                  <a:cubicBezTo>
                    <a:pt x="48" y="6"/>
                    <a:pt x="50" y="3"/>
                    <a:pt x="53" y="3"/>
                  </a:cubicBezTo>
                  <a:close/>
                  <a:moveTo>
                    <a:pt x="34" y="38"/>
                  </a:moveTo>
                  <a:cubicBezTo>
                    <a:pt x="34" y="35"/>
                    <a:pt x="34" y="35"/>
                    <a:pt x="34" y="35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4"/>
                    <a:pt x="27" y="0"/>
                    <a:pt x="21" y="0"/>
                  </a:cubicBezTo>
                  <a:cubicBezTo>
                    <a:pt x="18" y="0"/>
                    <a:pt x="16" y="1"/>
                    <a:pt x="11" y="5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4" y="7"/>
                    <a:pt x="16" y="6"/>
                    <a:pt x="19" y="6"/>
                  </a:cubicBezTo>
                  <a:cubicBezTo>
                    <a:pt x="22" y="6"/>
                    <a:pt x="23" y="8"/>
                    <a:pt x="23" y="12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34" y="38"/>
                    <a:pt x="34" y="38"/>
                    <a:pt x="34" y="38"/>
                  </a:cubicBezTo>
                  <a:close/>
                  <a:moveTo>
                    <a:pt x="70" y="6"/>
                  </a:moveTo>
                  <a:cubicBezTo>
                    <a:pt x="70" y="1"/>
                    <a:pt x="70" y="1"/>
                    <a:pt x="70" y="1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2" y="1"/>
                    <a:pt x="61" y="1"/>
                    <a:pt x="61" y="1"/>
                  </a:cubicBezTo>
                  <a:cubicBezTo>
                    <a:pt x="60" y="1"/>
                    <a:pt x="59" y="1"/>
                    <a:pt x="58" y="1"/>
                  </a:cubicBezTo>
                  <a:cubicBezTo>
                    <a:pt x="55" y="0"/>
                    <a:pt x="54" y="0"/>
                    <a:pt x="53" y="0"/>
                  </a:cubicBezTo>
                  <a:cubicBezTo>
                    <a:pt x="46" y="0"/>
                    <a:pt x="40" y="6"/>
                    <a:pt x="40" y="13"/>
                  </a:cubicBezTo>
                  <a:cubicBezTo>
                    <a:pt x="40" y="18"/>
                    <a:pt x="42" y="20"/>
                    <a:pt x="46" y="23"/>
                  </a:cubicBezTo>
                  <a:cubicBezTo>
                    <a:pt x="41" y="26"/>
                    <a:pt x="39" y="29"/>
                    <a:pt x="39" y="31"/>
                  </a:cubicBezTo>
                  <a:cubicBezTo>
                    <a:pt x="39" y="34"/>
                    <a:pt x="41" y="35"/>
                    <a:pt x="44" y="36"/>
                  </a:cubicBezTo>
                  <a:cubicBezTo>
                    <a:pt x="39" y="39"/>
                    <a:pt x="38" y="41"/>
                    <a:pt x="38" y="44"/>
                  </a:cubicBezTo>
                  <a:cubicBezTo>
                    <a:pt x="38" y="49"/>
                    <a:pt x="43" y="52"/>
                    <a:pt x="51" y="52"/>
                  </a:cubicBezTo>
                  <a:cubicBezTo>
                    <a:pt x="63" y="52"/>
                    <a:pt x="70" y="47"/>
                    <a:pt x="70" y="39"/>
                  </a:cubicBezTo>
                  <a:cubicBezTo>
                    <a:pt x="70" y="33"/>
                    <a:pt x="66" y="30"/>
                    <a:pt x="59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48" y="29"/>
                    <a:pt x="47" y="29"/>
                    <a:pt x="47" y="28"/>
                  </a:cubicBezTo>
                  <a:cubicBezTo>
                    <a:pt x="47" y="27"/>
                    <a:pt x="48" y="26"/>
                    <a:pt x="50" y="25"/>
                  </a:cubicBezTo>
                  <a:cubicBezTo>
                    <a:pt x="51" y="25"/>
                    <a:pt x="52" y="25"/>
                    <a:pt x="54" y="25"/>
                  </a:cubicBezTo>
                  <a:cubicBezTo>
                    <a:pt x="61" y="25"/>
                    <a:pt x="67" y="20"/>
                    <a:pt x="67" y="13"/>
                  </a:cubicBezTo>
                  <a:cubicBezTo>
                    <a:pt x="67" y="10"/>
                    <a:pt x="66" y="8"/>
                    <a:pt x="64" y="6"/>
                  </a:cubicBezTo>
                  <a:cubicBezTo>
                    <a:pt x="70" y="6"/>
                    <a:pt x="70" y="6"/>
                    <a:pt x="70" y="6"/>
                  </a:cubicBezTo>
                  <a:close/>
                  <a:moveTo>
                    <a:pt x="48" y="37"/>
                  </a:moveTo>
                  <a:cubicBezTo>
                    <a:pt x="63" y="38"/>
                    <a:pt x="64" y="38"/>
                    <a:pt x="64" y="42"/>
                  </a:cubicBezTo>
                  <a:cubicBezTo>
                    <a:pt x="64" y="45"/>
                    <a:pt x="60" y="48"/>
                    <a:pt x="53" y="48"/>
                  </a:cubicBezTo>
                  <a:cubicBezTo>
                    <a:pt x="48" y="48"/>
                    <a:pt x="45" y="46"/>
                    <a:pt x="45" y="43"/>
                  </a:cubicBezTo>
                  <a:cubicBezTo>
                    <a:pt x="45" y="40"/>
                    <a:pt x="46" y="39"/>
                    <a:pt x="48" y="37"/>
                  </a:cubicBezTo>
                  <a:close/>
                  <a:moveTo>
                    <a:pt x="102" y="19"/>
                  </a:moveTo>
                  <a:cubicBezTo>
                    <a:pt x="102" y="6"/>
                    <a:pt x="97" y="0"/>
                    <a:pt x="89" y="0"/>
                  </a:cubicBezTo>
                  <a:cubicBezTo>
                    <a:pt x="80" y="0"/>
                    <a:pt x="75" y="8"/>
                    <a:pt x="75" y="21"/>
                  </a:cubicBezTo>
                  <a:cubicBezTo>
                    <a:pt x="75" y="33"/>
                    <a:pt x="80" y="39"/>
                    <a:pt x="89" y="39"/>
                  </a:cubicBezTo>
                  <a:cubicBezTo>
                    <a:pt x="95" y="39"/>
                    <a:pt x="98" y="37"/>
                    <a:pt x="102" y="30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6" y="32"/>
                    <a:pt x="94" y="34"/>
                    <a:pt x="91" y="34"/>
                  </a:cubicBezTo>
                  <a:cubicBezTo>
                    <a:pt x="86" y="34"/>
                    <a:pt x="83" y="29"/>
                    <a:pt x="82" y="19"/>
                  </a:cubicBezTo>
                  <a:cubicBezTo>
                    <a:pt x="102" y="19"/>
                    <a:pt x="102" y="19"/>
                    <a:pt x="102" y="19"/>
                  </a:cubicBezTo>
                  <a:close/>
                  <a:moveTo>
                    <a:pt x="82" y="15"/>
                  </a:moveTo>
                  <a:cubicBezTo>
                    <a:pt x="83" y="7"/>
                    <a:pt x="85" y="4"/>
                    <a:pt x="88" y="4"/>
                  </a:cubicBezTo>
                  <a:cubicBezTo>
                    <a:pt x="92" y="4"/>
                    <a:pt x="94" y="7"/>
                    <a:pt x="94" y="15"/>
                  </a:cubicBezTo>
                  <a:cubicBezTo>
                    <a:pt x="82" y="15"/>
                    <a:pt x="82" y="15"/>
                    <a:pt x="82" y="15"/>
                  </a:cubicBezTo>
                  <a:close/>
                  <a:moveTo>
                    <a:pt x="120" y="0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108" y="3"/>
                    <a:pt x="108" y="3"/>
                    <a:pt x="108" y="3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2" y="34"/>
                    <a:pt x="112" y="34"/>
                    <a:pt x="112" y="34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5" y="35"/>
                    <a:pt x="125" y="35"/>
                    <a:pt x="125" y="35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14"/>
                    <a:pt x="120" y="14"/>
                    <a:pt x="120" y="14"/>
                  </a:cubicBezTo>
                  <a:cubicBezTo>
                    <a:pt x="120" y="12"/>
                    <a:pt x="122" y="9"/>
                    <a:pt x="124" y="8"/>
                  </a:cubicBezTo>
                  <a:cubicBezTo>
                    <a:pt x="128" y="10"/>
                    <a:pt x="128" y="10"/>
                    <a:pt x="128" y="10"/>
                  </a:cubicBezTo>
                  <a:cubicBezTo>
                    <a:pt x="130" y="8"/>
                    <a:pt x="131" y="7"/>
                    <a:pt x="131" y="5"/>
                  </a:cubicBezTo>
                  <a:cubicBezTo>
                    <a:pt x="131" y="3"/>
                    <a:pt x="130" y="1"/>
                    <a:pt x="127" y="1"/>
                  </a:cubicBezTo>
                  <a:cubicBezTo>
                    <a:pt x="124" y="1"/>
                    <a:pt x="123" y="2"/>
                    <a:pt x="120" y="8"/>
                  </a:cubicBezTo>
                  <a:cubicBezTo>
                    <a:pt x="120" y="0"/>
                    <a:pt x="120" y="0"/>
                    <a:pt x="120" y="0"/>
                  </a:cubicBezTo>
                  <a:close/>
                  <a:moveTo>
                    <a:pt x="31" y="60"/>
                  </a:moveTo>
                  <a:cubicBezTo>
                    <a:pt x="28" y="60"/>
                    <a:pt x="26" y="63"/>
                    <a:pt x="26" y="65"/>
                  </a:cubicBezTo>
                  <a:cubicBezTo>
                    <a:pt x="26" y="68"/>
                    <a:pt x="28" y="70"/>
                    <a:pt x="31" y="70"/>
                  </a:cubicBezTo>
                  <a:cubicBezTo>
                    <a:pt x="34" y="70"/>
                    <a:pt x="36" y="68"/>
                    <a:pt x="36" y="65"/>
                  </a:cubicBezTo>
                  <a:cubicBezTo>
                    <a:pt x="36" y="63"/>
                    <a:pt x="34" y="60"/>
                    <a:pt x="31" y="60"/>
                  </a:cubicBezTo>
                  <a:close/>
                  <a:moveTo>
                    <a:pt x="39" y="117"/>
                  </a:moveTo>
                  <a:cubicBezTo>
                    <a:pt x="39" y="114"/>
                    <a:pt x="39" y="114"/>
                    <a:pt x="39" y="114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24" y="82"/>
                    <a:pt x="24" y="82"/>
                    <a:pt x="24" y="82"/>
                  </a:cubicBezTo>
                  <a:cubicBezTo>
                    <a:pt x="24" y="84"/>
                    <a:pt x="24" y="84"/>
                    <a:pt x="24" y="84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24" y="114"/>
                    <a:pt x="24" y="114"/>
                    <a:pt x="24" y="114"/>
                  </a:cubicBezTo>
                  <a:cubicBezTo>
                    <a:pt x="24" y="117"/>
                    <a:pt x="24" y="117"/>
                    <a:pt x="24" y="117"/>
                  </a:cubicBezTo>
                  <a:cubicBezTo>
                    <a:pt x="100" y="117"/>
                    <a:pt x="100" y="117"/>
                    <a:pt x="100" y="117"/>
                  </a:cubicBezTo>
                  <a:cubicBezTo>
                    <a:pt x="100" y="114"/>
                    <a:pt x="100" y="114"/>
                    <a:pt x="100" y="114"/>
                  </a:cubicBezTo>
                  <a:cubicBezTo>
                    <a:pt x="95" y="113"/>
                    <a:pt x="95" y="113"/>
                    <a:pt x="95" y="113"/>
                  </a:cubicBezTo>
                  <a:cubicBezTo>
                    <a:pt x="95" y="90"/>
                    <a:pt x="95" y="90"/>
                    <a:pt x="95" y="90"/>
                  </a:cubicBezTo>
                  <a:cubicBezTo>
                    <a:pt x="95" y="82"/>
                    <a:pt x="93" y="79"/>
                    <a:pt x="86" y="79"/>
                  </a:cubicBezTo>
                  <a:cubicBezTo>
                    <a:pt x="82" y="79"/>
                    <a:pt x="79" y="81"/>
                    <a:pt x="75" y="84"/>
                  </a:cubicBezTo>
                  <a:cubicBezTo>
                    <a:pt x="73" y="81"/>
                    <a:pt x="71" y="79"/>
                    <a:pt x="67" y="79"/>
                  </a:cubicBezTo>
                  <a:cubicBezTo>
                    <a:pt x="63" y="79"/>
                    <a:pt x="60" y="81"/>
                    <a:pt x="56" y="84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113"/>
                    <a:pt x="49" y="113"/>
                    <a:pt x="49" y="113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45" y="117"/>
                    <a:pt x="45" y="117"/>
                    <a:pt x="45" y="117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57" y="113"/>
                    <a:pt x="57" y="113"/>
                    <a:pt x="57" y="113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9" y="85"/>
                    <a:pt x="61" y="84"/>
                    <a:pt x="64" y="84"/>
                  </a:cubicBezTo>
                  <a:cubicBezTo>
                    <a:pt x="67" y="84"/>
                    <a:pt x="69" y="87"/>
                    <a:pt x="69" y="91"/>
                  </a:cubicBezTo>
                  <a:cubicBezTo>
                    <a:pt x="69" y="113"/>
                    <a:pt x="69" y="113"/>
                    <a:pt x="69" y="113"/>
                  </a:cubicBezTo>
                  <a:cubicBezTo>
                    <a:pt x="64" y="114"/>
                    <a:pt x="64" y="114"/>
                    <a:pt x="64" y="114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80" y="117"/>
                    <a:pt x="80" y="117"/>
                    <a:pt x="80" y="117"/>
                  </a:cubicBezTo>
                  <a:cubicBezTo>
                    <a:pt x="80" y="114"/>
                    <a:pt x="80" y="114"/>
                    <a:pt x="80" y="114"/>
                  </a:cubicBezTo>
                  <a:cubicBezTo>
                    <a:pt x="76" y="113"/>
                    <a:pt x="76" y="113"/>
                    <a:pt x="76" y="113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9" y="85"/>
                    <a:pt x="81" y="84"/>
                    <a:pt x="83" y="84"/>
                  </a:cubicBezTo>
                  <a:cubicBezTo>
                    <a:pt x="86" y="84"/>
                    <a:pt x="88" y="86"/>
                    <a:pt x="88" y="92"/>
                  </a:cubicBezTo>
                  <a:cubicBezTo>
                    <a:pt x="88" y="113"/>
                    <a:pt x="88" y="113"/>
                    <a:pt x="88" y="113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7"/>
                    <a:pt x="84" y="117"/>
                    <a:pt x="84" y="117"/>
                  </a:cubicBezTo>
                  <a:cubicBezTo>
                    <a:pt x="100" y="117"/>
                    <a:pt x="100" y="117"/>
                    <a:pt x="100" y="117"/>
                  </a:cubicBezTo>
                  <a:cubicBezTo>
                    <a:pt x="39" y="117"/>
                    <a:pt x="39" y="117"/>
                    <a:pt x="39" y="1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432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Slide Number"/>
          <p:cNvSpPr txBox="1">
            <a:spLocks/>
          </p:cNvSpPr>
          <p:nvPr userDrawn="1"/>
        </p:nvSpPr>
        <p:spPr bwMode="auto">
          <a:xfrm>
            <a:off x="8802412" y="6513631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343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defTabSz="913432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74946" y="6546014"/>
            <a:ext cx="6841963" cy="2198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defTabSz="913432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PRIVILEGED AND CONFIDENTIAL – ATTORNEY WORK PRODUCT – A/C PRIVILEGED</a:t>
            </a:r>
          </a:p>
          <a:p>
            <a:pPr defTabSz="913432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For integration preparation purposes only. All proposals will be subject to appropriate consultation where applicable with employees and employee representative bodies.</a:t>
            </a:r>
          </a:p>
        </p:txBody>
      </p:sp>
    </p:spTree>
    <p:extLst>
      <p:ext uri="{BB962C8B-B14F-4D97-AF65-F5344CB8AC3E}">
        <p14:creationId xmlns:p14="http://schemas.microsoft.com/office/powerpoint/2010/main" val="455577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26" Type="http://schemas.openxmlformats.org/officeDocument/2006/relationships/tags" Target="../tags/tag1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0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tags" Target="../tags/tag6.xml"/><Relationship Id="rId25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23" Type="http://schemas.openxmlformats.org/officeDocument/2006/relationships/tags" Target="../tags/tag12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Relationship Id="rId22" Type="http://schemas.openxmlformats.org/officeDocument/2006/relationships/tags" Target="../tags/tag11.xml"/><Relationship Id="rId27" Type="http://schemas.openxmlformats.org/officeDocument/2006/relationships/tags" Target="../tags/tag1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" Type="http://schemas.openxmlformats.org/officeDocument/2006/relationships/slideLayout" Target="../slideLayouts/slideLayout13.xml"/><Relationship Id="rId21" Type="http://schemas.openxmlformats.org/officeDocument/2006/relationships/tags" Target="../tags/tag27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2" Type="http://schemas.openxmlformats.org/officeDocument/2006/relationships/slideLayout" Target="../slideLayouts/slideLayout12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oleObject" Target="../embeddings/oleObject4.bin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tags" Target="../tags/tag30.xm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10" Type="http://schemas.openxmlformats.org/officeDocument/2006/relationships/slideLayout" Target="../slideLayouts/slideLayout20.xml"/><Relationship Id="rId19" Type="http://schemas.openxmlformats.org/officeDocument/2006/relationships/tags" Target="../tags/tag25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26" Type="http://schemas.openxmlformats.org/officeDocument/2006/relationships/tags" Target="../tags/tag52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47.xml"/><Relationship Id="rId7" Type="http://schemas.openxmlformats.org/officeDocument/2006/relationships/slideLayout" Target="../slideLayouts/slideLayout28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5" Type="http://schemas.openxmlformats.org/officeDocument/2006/relationships/tags" Target="../tags/tag51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42.xml"/><Relationship Id="rId20" Type="http://schemas.openxmlformats.org/officeDocument/2006/relationships/tags" Target="../tags/tag46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ags" Target="../tags/tag37.xml"/><Relationship Id="rId24" Type="http://schemas.openxmlformats.org/officeDocument/2006/relationships/tags" Target="../tags/tag50.xml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41.xml"/><Relationship Id="rId23" Type="http://schemas.openxmlformats.org/officeDocument/2006/relationships/tags" Target="../tags/tag49.xml"/><Relationship Id="rId28" Type="http://schemas.openxmlformats.org/officeDocument/2006/relationships/image" Target="../media/image1.emf"/><Relationship Id="rId10" Type="http://schemas.openxmlformats.org/officeDocument/2006/relationships/theme" Target="../theme/theme3.xml"/><Relationship Id="rId19" Type="http://schemas.openxmlformats.org/officeDocument/2006/relationships/tags" Target="../tags/tag45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ags" Target="../tags/tag40.xml"/><Relationship Id="rId22" Type="http://schemas.openxmlformats.org/officeDocument/2006/relationships/tags" Target="../tags/tag48.xml"/><Relationship Id="rId27" Type="http://schemas.openxmlformats.org/officeDocument/2006/relationships/oleObject" Target="../embeddings/oleObject7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57.xml"/><Relationship Id="rId18" Type="http://schemas.openxmlformats.org/officeDocument/2006/relationships/tags" Target="../tags/tag62.xml"/><Relationship Id="rId26" Type="http://schemas.openxmlformats.org/officeDocument/2006/relationships/tags" Target="../tags/tag70.xml"/><Relationship Id="rId3" Type="http://schemas.openxmlformats.org/officeDocument/2006/relationships/slideLayout" Target="../slideLayouts/slideLayout33.xml"/><Relationship Id="rId21" Type="http://schemas.openxmlformats.org/officeDocument/2006/relationships/tags" Target="../tags/tag65.xml"/><Relationship Id="rId7" Type="http://schemas.openxmlformats.org/officeDocument/2006/relationships/slideLayout" Target="../slideLayouts/slideLayout37.xml"/><Relationship Id="rId12" Type="http://schemas.openxmlformats.org/officeDocument/2006/relationships/tags" Target="../tags/tag56.xml"/><Relationship Id="rId17" Type="http://schemas.openxmlformats.org/officeDocument/2006/relationships/tags" Target="../tags/tag61.xml"/><Relationship Id="rId25" Type="http://schemas.openxmlformats.org/officeDocument/2006/relationships/tags" Target="../tags/tag69.xml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60.xml"/><Relationship Id="rId20" Type="http://schemas.openxmlformats.org/officeDocument/2006/relationships/tags" Target="../tags/tag64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ags" Target="../tags/tag55.xml"/><Relationship Id="rId24" Type="http://schemas.openxmlformats.org/officeDocument/2006/relationships/tags" Target="../tags/tag68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59.xml"/><Relationship Id="rId23" Type="http://schemas.openxmlformats.org/officeDocument/2006/relationships/tags" Target="../tags/tag67.xml"/><Relationship Id="rId28" Type="http://schemas.openxmlformats.org/officeDocument/2006/relationships/image" Target="../media/image1.emf"/><Relationship Id="rId10" Type="http://schemas.openxmlformats.org/officeDocument/2006/relationships/theme" Target="../theme/theme4.xml"/><Relationship Id="rId19" Type="http://schemas.openxmlformats.org/officeDocument/2006/relationships/tags" Target="../tags/tag63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tags" Target="../tags/tag58.xml"/><Relationship Id="rId22" Type="http://schemas.openxmlformats.org/officeDocument/2006/relationships/tags" Target="../tags/tag66.xml"/><Relationship Id="rId27" Type="http://schemas.openxmlformats.org/officeDocument/2006/relationships/oleObject" Target="../embeddings/oleObject10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ags" Target="../tags/tag76.xml"/><Relationship Id="rId18" Type="http://schemas.openxmlformats.org/officeDocument/2006/relationships/tags" Target="../tags/tag81.xml"/><Relationship Id="rId26" Type="http://schemas.openxmlformats.org/officeDocument/2006/relationships/oleObject" Target="../embeddings/oleObject13.bin"/><Relationship Id="rId3" Type="http://schemas.openxmlformats.org/officeDocument/2006/relationships/slideLayout" Target="../slideLayouts/slideLayout42.xml"/><Relationship Id="rId21" Type="http://schemas.openxmlformats.org/officeDocument/2006/relationships/tags" Target="../tags/tag84.xml"/><Relationship Id="rId7" Type="http://schemas.openxmlformats.org/officeDocument/2006/relationships/slideLayout" Target="../slideLayouts/slideLayout46.xml"/><Relationship Id="rId12" Type="http://schemas.openxmlformats.org/officeDocument/2006/relationships/tags" Target="../tags/tag75.xml"/><Relationship Id="rId17" Type="http://schemas.openxmlformats.org/officeDocument/2006/relationships/tags" Target="../tags/tag80.xml"/><Relationship Id="rId25" Type="http://schemas.openxmlformats.org/officeDocument/2006/relationships/tags" Target="../tags/tag88.xml"/><Relationship Id="rId2" Type="http://schemas.openxmlformats.org/officeDocument/2006/relationships/slideLayout" Target="../slideLayouts/slideLayout41.xml"/><Relationship Id="rId16" Type="http://schemas.openxmlformats.org/officeDocument/2006/relationships/tags" Target="../tags/tag79.xml"/><Relationship Id="rId20" Type="http://schemas.openxmlformats.org/officeDocument/2006/relationships/tags" Target="../tags/tag83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tags" Target="../tags/tag74.xml"/><Relationship Id="rId24" Type="http://schemas.openxmlformats.org/officeDocument/2006/relationships/tags" Target="../tags/tag87.xml"/><Relationship Id="rId5" Type="http://schemas.openxmlformats.org/officeDocument/2006/relationships/slideLayout" Target="../slideLayouts/slideLayout44.xml"/><Relationship Id="rId15" Type="http://schemas.openxmlformats.org/officeDocument/2006/relationships/tags" Target="../tags/tag78.xml"/><Relationship Id="rId23" Type="http://schemas.openxmlformats.org/officeDocument/2006/relationships/tags" Target="../tags/tag86.xml"/><Relationship Id="rId10" Type="http://schemas.openxmlformats.org/officeDocument/2006/relationships/tags" Target="../tags/tag73.xml"/><Relationship Id="rId19" Type="http://schemas.openxmlformats.org/officeDocument/2006/relationships/tags" Target="../tags/tag82.xml"/><Relationship Id="rId4" Type="http://schemas.openxmlformats.org/officeDocument/2006/relationships/slideLayout" Target="../slideLayouts/slideLayout43.xml"/><Relationship Id="rId9" Type="http://schemas.openxmlformats.org/officeDocument/2006/relationships/theme" Target="../theme/theme5.xml"/><Relationship Id="rId14" Type="http://schemas.openxmlformats.org/officeDocument/2006/relationships/tags" Target="../tags/tag77.xml"/><Relationship Id="rId22" Type="http://schemas.openxmlformats.org/officeDocument/2006/relationships/tags" Target="../tags/tag85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943298156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Rectangle 70"/>
          <p:cNvSpPr/>
          <p:nvPr/>
        </p:nvSpPr>
        <p:spPr bwMode="ltGray">
          <a:xfrm>
            <a:off x="3239" y="6482869"/>
            <a:ext cx="9140760" cy="373626"/>
          </a:xfrm>
          <a:prstGeom prst="rect">
            <a:avLst/>
          </a:prstGeom>
          <a:solidFill>
            <a:srgbClr val="7030A0"/>
          </a:solidFill>
          <a:ln w="9525">
            <a:solidFill>
              <a:srgbClr val="003366"/>
            </a:solidFill>
            <a:miter lim="800000"/>
            <a:headEnd/>
            <a:tailEnd/>
          </a:ln>
          <a:effectLst/>
        </p:spPr>
        <p:txBody>
          <a:bodyPr vert="horz" wrap="none" lIns="92178" tIns="46096" rIns="92178" bIns="4609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59771"/>
            <a:endParaRPr lang="en-US" sz="1000" b="1" kern="0" dirty="0">
              <a:solidFill>
                <a:srgbClr val="FFFFFF"/>
              </a:solidFill>
              <a:latin typeface="BISansCond"/>
              <a:cs typeface="Arial" pitchFamily="34" charset="0"/>
            </a:endParaRPr>
          </a:p>
        </p:txBody>
      </p:sp>
      <p:sp>
        <p:nvSpPr>
          <p:cNvPr id="27" name="Slide Number"/>
          <p:cNvSpPr txBox="1">
            <a:spLocks/>
          </p:cNvSpPr>
          <p:nvPr/>
        </p:nvSpPr>
        <p:spPr bwMode="auto">
          <a:xfrm>
            <a:off x="8802412" y="6513631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21426" y="2937165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5059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 err="1"/>
              <a:t>OpenClassrooms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81409" y="542633"/>
            <a:ext cx="878776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auto">
          <a:xfrm>
            <a:off x="175058" y="6193943"/>
            <a:ext cx="8787763" cy="364756"/>
            <a:chOff x="171451" y="6180354"/>
            <a:chExt cx="8612313" cy="35749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71451" y="6180354"/>
              <a:ext cx="861231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5642" indent="-10564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71451" y="6383961"/>
              <a:ext cx="711989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17833" indent="-617833" defTabSz="902646" fontAlgn="base">
                <a:spcBef>
                  <a:spcPct val="0"/>
                </a:spcBef>
                <a:spcAft>
                  <a:spcPct val="0"/>
                </a:spcAft>
                <a:tabLst>
                  <a:tab pos="617833" algn="l"/>
                </a:tabLst>
              </a:pPr>
              <a:r>
                <a:rPr lang="en-US" sz="1000" dirty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21426" y="2339194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8" name="LegendBoxes" hidden="1"/>
          <p:cNvGrpSpPr>
            <a:grpSpLocks/>
          </p:cNvGrpSpPr>
          <p:nvPr/>
        </p:nvGrpSpPr>
        <p:grpSpPr bwMode="auto">
          <a:xfrm>
            <a:off x="8194372" y="275426"/>
            <a:ext cx="774702" cy="1001714"/>
            <a:chOff x="4936" y="176"/>
            <a:chExt cx="488" cy="631"/>
          </a:xfrm>
        </p:grpSpPr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30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32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34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35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36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</p:grpSp>
      <p:grpSp>
        <p:nvGrpSpPr>
          <p:cNvPr id="37" name="LegendLines" hidden="1"/>
          <p:cNvGrpSpPr>
            <a:grpSpLocks/>
          </p:cNvGrpSpPr>
          <p:nvPr/>
        </p:nvGrpSpPr>
        <p:grpSpPr bwMode="auto">
          <a:xfrm>
            <a:off x="7886495" y="275426"/>
            <a:ext cx="1082677" cy="735014"/>
            <a:chOff x="4750" y="176"/>
            <a:chExt cx="682" cy="463"/>
          </a:xfrm>
        </p:grpSpPr>
        <p:sp>
          <p:nvSpPr>
            <p:cNvPr id="38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39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40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</p:grpSp>
      <p:grpSp>
        <p:nvGrpSpPr>
          <p:cNvPr id="44" name="McKSticker" hidden="1"/>
          <p:cNvGrpSpPr/>
          <p:nvPr/>
        </p:nvGrpSpPr>
        <p:grpSpPr bwMode="auto">
          <a:xfrm>
            <a:off x="7880435" y="275426"/>
            <a:ext cx="1088630" cy="216680"/>
            <a:chOff x="7652146" y="285750"/>
            <a:chExt cx="1088629" cy="216680"/>
          </a:xfrm>
        </p:grpSpPr>
        <p:sp>
          <p:nvSpPr>
            <p:cNvPr id="45" name="StickerRectangle"/>
            <p:cNvSpPr>
              <a:spLocks noChangeArrowheads="1"/>
            </p:cNvSpPr>
            <p:nvPr/>
          </p:nvSpPr>
          <p:spPr bwMode="auto">
            <a:xfrm>
              <a:off x="7652146" y="285750"/>
              <a:ext cx="1088629" cy="21668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808080"/>
                  </a:solidFill>
                  <a:cs typeface="Calibri" pitchFamily="34" charset="0"/>
                </a:rPr>
                <a:t>PRELIMINARY</a:t>
              </a:r>
            </a:p>
          </p:txBody>
        </p:sp>
        <p:cxnSp>
          <p:nvCxnSpPr>
            <p:cNvPr id="46" name="AutoShape 31"/>
            <p:cNvCxnSpPr>
              <a:cxnSpLocks noChangeShapeType="1"/>
              <a:stCxn id="45" idx="2"/>
              <a:endCxn id="45" idx="4"/>
            </p:cNvCxnSpPr>
            <p:nvPr/>
          </p:nvCxnSpPr>
          <p:spPr bwMode="auto">
            <a:xfrm>
              <a:off x="7652146" y="285750"/>
              <a:ext cx="0" cy="21668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7" name="AutoShape 32"/>
            <p:cNvCxnSpPr>
              <a:cxnSpLocks noChangeShapeType="1"/>
              <a:stCxn id="45" idx="4"/>
              <a:endCxn id="45" idx="6"/>
            </p:cNvCxnSpPr>
            <p:nvPr/>
          </p:nvCxnSpPr>
          <p:spPr bwMode="auto">
            <a:xfrm>
              <a:off x="7652146" y="502430"/>
              <a:ext cx="108862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8" name="LegendMoons" hidden="1"/>
          <p:cNvGrpSpPr/>
          <p:nvPr/>
        </p:nvGrpSpPr>
        <p:grpSpPr bwMode="auto">
          <a:xfrm>
            <a:off x="8128242" y="275442"/>
            <a:ext cx="840815" cy="1306516"/>
            <a:chOff x="7875175" y="286625"/>
            <a:chExt cx="840815" cy="1306516"/>
          </a:xfrm>
        </p:grpSpPr>
        <p:grpSp>
          <p:nvGrpSpPr>
            <p:cNvPr id="49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7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8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  <p:grpSp>
          <p:nvGrpSpPr>
            <p:cNvPr id="50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  <p:grpSp>
          <p:nvGrpSpPr>
            <p:cNvPr id="51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63" name="Oval 50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4" name="Oval 5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  <p:sp>
          <p:nvSpPr>
            <p:cNvPr id="52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53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54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55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56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grpSp>
          <p:nvGrpSpPr>
            <p:cNvPr id="57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  <p:grpSp>
          <p:nvGrpSpPr>
            <p:cNvPr id="58" name="MoonLegend1"/>
            <p:cNvGrpSpPr>
              <a:grpSpLocks noChangeAspect="1"/>
            </p:cNvGrpSpPr>
            <p:nvPr userDrawn="1">
              <p:custDataLst>
                <p:tags r:id="rId17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43719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  <p:sldLayoutId id="2147483666" r:id="rId5"/>
    <p:sldLayoutId id="2147483667" r:id="rId6"/>
    <p:sldLayoutId id="2147483668" r:id="rId7"/>
    <p:sldLayoutId id="2147483670" r:id="rId8"/>
    <p:sldLayoutId id="2147483672" r:id="rId9"/>
    <p:sldLayoutId id="2147483720" r:id="rId10"/>
  </p:sldLayoutIdLst>
  <p:hf sldNum="0" hdr="0" ftr="0"/>
  <p:txStyles>
    <p:titleStyle>
      <a:lvl1pPr algn="l" defTabSz="902646" rtl="0" eaLnBrk="1" fontAlgn="base" hangingPunct="1">
        <a:spcBef>
          <a:spcPct val="0"/>
        </a:spcBef>
        <a:spcAft>
          <a:spcPct val="0"/>
        </a:spcAft>
        <a:tabLst>
          <a:tab pos="2720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0883" algn="l" defTabSz="90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1846" algn="l" defTabSz="90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82779" algn="l" defTabSz="90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43703" algn="l" defTabSz="90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5255" indent="-193656" algn="l" defTabSz="90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 baseline="0">
          <a:solidFill>
            <a:schemeClr val="tx1"/>
          </a:solidFill>
          <a:latin typeface="+mn-lt"/>
        </a:defRPr>
      </a:lvl2pPr>
      <a:lvl3pPr marL="460883" indent="-264075" algn="l" defTabSz="90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9371" indent="-156850" algn="l" defTabSz="90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▫"/>
        <a:defRPr sz="1600" baseline="0">
          <a:solidFill>
            <a:schemeClr val="tx1"/>
          </a:solidFill>
          <a:latin typeface="+mn-lt"/>
        </a:defRPr>
      </a:lvl4pPr>
      <a:lvl5pPr marL="755921" indent="-131236" algn="l" defTabSz="90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55921" indent="-131236" algn="l" defTabSz="90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55921" indent="-131236" algn="l" defTabSz="90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55921" indent="-131236" algn="l" defTabSz="90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55921" indent="-131236" algn="l" defTabSz="90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18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0883" algn="l" defTabSz="9218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1846" algn="l" defTabSz="9218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2779" algn="l" defTabSz="9218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3703" algn="l" defTabSz="9218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4633" algn="l" defTabSz="9218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65559" algn="l" defTabSz="9218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26486" algn="l" defTabSz="9218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87412" algn="l" defTabSz="9218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88698847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/>
          <p:cNvSpPr/>
          <p:nvPr/>
        </p:nvSpPr>
        <p:spPr bwMode="ltGray">
          <a:xfrm>
            <a:off x="3239" y="6402452"/>
            <a:ext cx="9140760" cy="379385"/>
          </a:xfrm>
          <a:prstGeom prst="rect">
            <a:avLst/>
          </a:prstGeom>
          <a:solidFill>
            <a:srgbClr val="285888"/>
          </a:solidFill>
          <a:ln w="9525">
            <a:solidFill>
              <a:srgbClr val="28588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178" tIns="46096" rIns="92178" bIns="4609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59771"/>
            <a:endParaRPr lang="en-US" sz="1000" b="1" kern="0" dirty="0">
              <a:solidFill>
                <a:srgbClr val="FFFFFF"/>
              </a:solidFill>
              <a:latin typeface="BISansCond"/>
              <a:cs typeface="Arial" pitchFamily="34" charset="0"/>
            </a:endParaRPr>
          </a:p>
        </p:txBody>
      </p:sp>
      <p:sp>
        <p:nvSpPr>
          <p:cNvPr id="71" name="Rectangle 70"/>
          <p:cNvSpPr/>
          <p:nvPr/>
        </p:nvSpPr>
        <p:spPr bwMode="ltGray">
          <a:xfrm>
            <a:off x="3239" y="6781943"/>
            <a:ext cx="9140760" cy="74551"/>
          </a:xfrm>
          <a:prstGeom prst="rect">
            <a:avLst/>
          </a:prstGeom>
          <a:solidFill>
            <a:srgbClr val="003366"/>
          </a:solidFill>
          <a:ln w="9525">
            <a:solidFill>
              <a:srgbClr val="00336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178" tIns="46096" rIns="92178" bIns="4609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59771"/>
            <a:endParaRPr lang="en-US" sz="1000" b="1" kern="0" dirty="0">
              <a:solidFill>
                <a:srgbClr val="FFFFFF"/>
              </a:solidFill>
              <a:latin typeface="BISansCond"/>
              <a:cs typeface="Arial" pitchFamily="34" charset="0"/>
            </a:endParaRPr>
          </a:p>
        </p:txBody>
      </p:sp>
      <p:grpSp>
        <p:nvGrpSpPr>
          <p:cNvPr id="72" name="Group 71"/>
          <p:cNvGrpSpPr/>
          <p:nvPr/>
        </p:nvGrpSpPr>
        <p:grpSpPr bwMode="auto">
          <a:xfrm>
            <a:off x="7607998" y="6445567"/>
            <a:ext cx="1020082" cy="308657"/>
            <a:chOff x="2103438" y="-793750"/>
            <a:chExt cx="1893887" cy="573087"/>
          </a:xfrm>
        </p:grpSpPr>
        <p:sp>
          <p:nvSpPr>
            <p:cNvPr id="73" name="Freeform 7"/>
            <p:cNvSpPr>
              <a:spLocks noEditPoints="1"/>
            </p:cNvSpPr>
            <p:nvPr/>
          </p:nvSpPr>
          <p:spPr bwMode="auto">
            <a:xfrm>
              <a:off x="2755900" y="-768350"/>
              <a:ext cx="401637" cy="547687"/>
            </a:xfrm>
            <a:custGeom>
              <a:avLst/>
              <a:gdLst>
                <a:gd name="T0" fmla="*/ 13 w 107"/>
                <a:gd name="T1" fmla="*/ 4 h 146"/>
                <a:gd name="T2" fmla="*/ 26 w 107"/>
                <a:gd name="T3" fmla="*/ 13 h 146"/>
                <a:gd name="T4" fmla="*/ 13 w 107"/>
                <a:gd name="T5" fmla="*/ 24 h 146"/>
                <a:gd name="T6" fmla="*/ 0 w 107"/>
                <a:gd name="T7" fmla="*/ 1 h 146"/>
                <a:gd name="T8" fmla="*/ 5 w 107"/>
                <a:gd name="T9" fmla="*/ 5 h 146"/>
                <a:gd name="T10" fmla="*/ 0 w 107"/>
                <a:gd name="T11" fmla="*/ 50 h 146"/>
                <a:gd name="T12" fmla="*/ 9 w 107"/>
                <a:gd name="T13" fmla="*/ 53 h 146"/>
                <a:gd name="T14" fmla="*/ 19 w 107"/>
                <a:gd name="T15" fmla="*/ 54 h 146"/>
                <a:gd name="T16" fmla="*/ 38 w 107"/>
                <a:gd name="T17" fmla="*/ 40 h 146"/>
                <a:gd name="T18" fmla="*/ 35 w 107"/>
                <a:gd name="T19" fmla="*/ 13 h 146"/>
                <a:gd name="T20" fmla="*/ 15 w 107"/>
                <a:gd name="T21" fmla="*/ 0 h 146"/>
                <a:gd name="T22" fmla="*/ 13 w 107"/>
                <a:gd name="T23" fmla="*/ 28 h 146"/>
                <a:gd name="T24" fmla="*/ 29 w 107"/>
                <a:gd name="T25" fmla="*/ 39 h 146"/>
                <a:gd name="T26" fmla="*/ 13 w 107"/>
                <a:gd name="T27" fmla="*/ 49 h 146"/>
                <a:gd name="T28" fmla="*/ 59 w 107"/>
                <a:gd name="T29" fmla="*/ 15 h 146"/>
                <a:gd name="T30" fmla="*/ 59 w 107"/>
                <a:gd name="T31" fmla="*/ 54 h 146"/>
                <a:gd name="T32" fmla="*/ 59 w 107"/>
                <a:gd name="T33" fmla="*/ 15 h 146"/>
                <a:gd name="T34" fmla="*/ 66 w 107"/>
                <a:gd name="T35" fmla="*/ 33 h 146"/>
                <a:gd name="T36" fmla="*/ 52 w 107"/>
                <a:gd name="T37" fmla="*/ 35 h 146"/>
                <a:gd name="T38" fmla="*/ 107 w 107"/>
                <a:gd name="T39" fmla="*/ 34 h 146"/>
                <a:gd name="T40" fmla="*/ 80 w 107"/>
                <a:gd name="T41" fmla="*/ 36 h 146"/>
                <a:gd name="T42" fmla="*/ 107 w 107"/>
                <a:gd name="T43" fmla="*/ 45 h 146"/>
                <a:gd name="T44" fmla="*/ 96 w 107"/>
                <a:gd name="T45" fmla="*/ 49 h 146"/>
                <a:gd name="T46" fmla="*/ 107 w 107"/>
                <a:gd name="T47" fmla="*/ 34 h 146"/>
                <a:gd name="T48" fmla="*/ 94 w 107"/>
                <a:gd name="T49" fmla="*/ 19 h 146"/>
                <a:gd name="T50" fmla="*/ 87 w 107"/>
                <a:gd name="T51" fmla="*/ 30 h 146"/>
                <a:gd name="T52" fmla="*/ 17 w 107"/>
                <a:gd name="T53" fmla="*/ 129 h 146"/>
                <a:gd name="T54" fmla="*/ 13 w 107"/>
                <a:gd name="T55" fmla="*/ 83 h 146"/>
                <a:gd name="T56" fmla="*/ 18 w 107"/>
                <a:gd name="T57" fmla="*/ 79 h 146"/>
                <a:gd name="T58" fmla="*/ 0 w 107"/>
                <a:gd name="T59" fmla="*/ 82 h 146"/>
                <a:gd name="T60" fmla="*/ 5 w 107"/>
                <a:gd name="T61" fmla="*/ 128 h 146"/>
                <a:gd name="T62" fmla="*/ 0 w 107"/>
                <a:gd name="T63" fmla="*/ 132 h 146"/>
                <a:gd name="T64" fmla="*/ 57 w 107"/>
                <a:gd name="T65" fmla="*/ 132 h 146"/>
                <a:gd name="T66" fmla="*/ 53 w 107"/>
                <a:gd name="T67" fmla="*/ 128 h 146"/>
                <a:gd name="T68" fmla="*/ 44 w 107"/>
                <a:gd name="T69" fmla="*/ 94 h 146"/>
                <a:gd name="T70" fmla="*/ 34 w 107"/>
                <a:gd name="T71" fmla="*/ 94 h 146"/>
                <a:gd name="T72" fmla="*/ 23 w 107"/>
                <a:gd name="T73" fmla="*/ 96 h 146"/>
                <a:gd name="T74" fmla="*/ 27 w 107"/>
                <a:gd name="T75" fmla="*/ 100 h 146"/>
                <a:gd name="T76" fmla="*/ 23 w 107"/>
                <a:gd name="T77" fmla="*/ 129 h 146"/>
                <a:gd name="T78" fmla="*/ 38 w 107"/>
                <a:gd name="T79" fmla="*/ 132 h 146"/>
                <a:gd name="T80" fmla="*/ 34 w 107"/>
                <a:gd name="T81" fmla="*/ 128 h 146"/>
                <a:gd name="T82" fmla="*/ 42 w 107"/>
                <a:gd name="T83" fmla="*/ 99 h 146"/>
                <a:gd name="T84" fmla="*/ 46 w 107"/>
                <a:gd name="T85" fmla="*/ 128 h 146"/>
                <a:gd name="T86" fmla="*/ 42 w 107"/>
                <a:gd name="T87" fmla="*/ 132 h 146"/>
                <a:gd name="T88" fmla="*/ 93 w 107"/>
                <a:gd name="T89" fmla="*/ 99 h 146"/>
                <a:gd name="T90" fmla="*/ 87 w 107"/>
                <a:gd name="T91" fmla="*/ 95 h 146"/>
                <a:gd name="T92" fmla="*/ 84 w 107"/>
                <a:gd name="T93" fmla="*/ 95 h 146"/>
                <a:gd name="T94" fmla="*/ 76 w 107"/>
                <a:gd name="T95" fmla="*/ 93 h 146"/>
                <a:gd name="T96" fmla="*/ 70 w 107"/>
                <a:gd name="T97" fmla="*/ 117 h 146"/>
                <a:gd name="T98" fmla="*/ 67 w 107"/>
                <a:gd name="T99" fmla="*/ 130 h 146"/>
                <a:gd name="T100" fmla="*/ 75 w 107"/>
                <a:gd name="T101" fmla="*/ 146 h 146"/>
                <a:gd name="T102" fmla="*/ 82 w 107"/>
                <a:gd name="T103" fmla="*/ 124 h 146"/>
                <a:gd name="T104" fmla="*/ 70 w 107"/>
                <a:gd name="T105" fmla="*/ 122 h 146"/>
                <a:gd name="T106" fmla="*/ 77 w 107"/>
                <a:gd name="T107" fmla="*/ 119 h 146"/>
                <a:gd name="T108" fmla="*/ 87 w 107"/>
                <a:gd name="T109" fmla="*/ 99 h 146"/>
                <a:gd name="T110" fmla="*/ 76 w 107"/>
                <a:gd name="T111" fmla="*/ 97 h 146"/>
                <a:gd name="T112" fmla="*/ 77 w 107"/>
                <a:gd name="T113" fmla="*/ 115 h 146"/>
                <a:gd name="T114" fmla="*/ 76 w 107"/>
                <a:gd name="T115" fmla="*/ 97 h 146"/>
                <a:gd name="T116" fmla="*/ 88 w 107"/>
                <a:gd name="T117" fmla="*/ 135 h 146"/>
                <a:gd name="T118" fmla="*/ 68 w 107"/>
                <a:gd name="T119" fmla="*/ 136 h 146"/>
                <a:gd name="T120" fmla="*/ 74 w 107"/>
                <a:gd name="T121" fmla="*/ 131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7" h="146">
                  <a:moveTo>
                    <a:pt x="13" y="24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15" y="4"/>
                    <a:pt x="16" y="3"/>
                    <a:pt x="17" y="3"/>
                  </a:cubicBezTo>
                  <a:cubicBezTo>
                    <a:pt x="23" y="3"/>
                    <a:pt x="26" y="7"/>
                    <a:pt x="26" y="13"/>
                  </a:cubicBezTo>
                  <a:cubicBezTo>
                    <a:pt x="26" y="21"/>
                    <a:pt x="23" y="24"/>
                    <a:pt x="16" y="24"/>
                  </a:cubicBezTo>
                  <a:cubicBezTo>
                    <a:pt x="13" y="24"/>
                    <a:pt x="13" y="24"/>
                    <a:pt x="13" y="24"/>
                  </a:cubicBezTo>
                  <a:close/>
                  <a:moveTo>
                    <a:pt x="9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10" y="53"/>
                    <a:pt x="12" y="53"/>
                    <a:pt x="15" y="54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5" y="54"/>
                    <a:pt x="27" y="53"/>
                    <a:pt x="30" y="52"/>
                  </a:cubicBezTo>
                  <a:cubicBezTo>
                    <a:pt x="35" y="50"/>
                    <a:pt x="38" y="45"/>
                    <a:pt x="38" y="40"/>
                  </a:cubicBezTo>
                  <a:cubicBezTo>
                    <a:pt x="38" y="32"/>
                    <a:pt x="34" y="27"/>
                    <a:pt x="26" y="25"/>
                  </a:cubicBezTo>
                  <a:cubicBezTo>
                    <a:pt x="32" y="22"/>
                    <a:pt x="35" y="18"/>
                    <a:pt x="35" y="13"/>
                  </a:cubicBezTo>
                  <a:cubicBezTo>
                    <a:pt x="35" y="5"/>
                    <a:pt x="29" y="0"/>
                    <a:pt x="20" y="0"/>
                  </a:cubicBezTo>
                  <a:cubicBezTo>
                    <a:pt x="20" y="0"/>
                    <a:pt x="18" y="0"/>
                    <a:pt x="15" y="0"/>
                  </a:cubicBezTo>
                  <a:cubicBezTo>
                    <a:pt x="9" y="1"/>
                    <a:pt x="9" y="1"/>
                    <a:pt x="9" y="1"/>
                  </a:cubicBezTo>
                  <a:close/>
                  <a:moveTo>
                    <a:pt x="13" y="28"/>
                  </a:moveTo>
                  <a:cubicBezTo>
                    <a:pt x="16" y="28"/>
                    <a:pt x="16" y="28"/>
                    <a:pt x="16" y="28"/>
                  </a:cubicBezTo>
                  <a:cubicBezTo>
                    <a:pt x="25" y="28"/>
                    <a:pt x="29" y="31"/>
                    <a:pt x="29" y="39"/>
                  </a:cubicBezTo>
                  <a:cubicBezTo>
                    <a:pt x="29" y="46"/>
                    <a:pt x="25" y="50"/>
                    <a:pt x="17" y="50"/>
                  </a:cubicBezTo>
                  <a:cubicBezTo>
                    <a:pt x="15" y="50"/>
                    <a:pt x="14" y="50"/>
                    <a:pt x="13" y="49"/>
                  </a:cubicBezTo>
                  <a:cubicBezTo>
                    <a:pt x="13" y="28"/>
                    <a:pt x="13" y="28"/>
                    <a:pt x="13" y="28"/>
                  </a:cubicBezTo>
                  <a:close/>
                  <a:moveTo>
                    <a:pt x="59" y="15"/>
                  </a:moveTo>
                  <a:cubicBezTo>
                    <a:pt x="50" y="15"/>
                    <a:pt x="44" y="23"/>
                    <a:pt x="44" y="35"/>
                  </a:cubicBezTo>
                  <a:cubicBezTo>
                    <a:pt x="44" y="46"/>
                    <a:pt x="50" y="54"/>
                    <a:pt x="59" y="54"/>
                  </a:cubicBezTo>
                  <a:cubicBezTo>
                    <a:pt x="68" y="54"/>
                    <a:pt x="74" y="46"/>
                    <a:pt x="74" y="34"/>
                  </a:cubicBezTo>
                  <a:cubicBezTo>
                    <a:pt x="74" y="23"/>
                    <a:pt x="68" y="15"/>
                    <a:pt x="59" y="15"/>
                  </a:cubicBezTo>
                  <a:close/>
                  <a:moveTo>
                    <a:pt x="59" y="19"/>
                  </a:moveTo>
                  <a:cubicBezTo>
                    <a:pt x="63" y="19"/>
                    <a:pt x="66" y="24"/>
                    <a:pt x="66" y="33"/>
                  </a:cubicBezTo>
                  <a:cubicBezTo>
                    <a:pt x="66" y="44"/>
                    <a:pt x="63" y="50"/>
                    <a:pt x="59" y="50"/>
                  </a:cubicBezTo>
                  <a:cubicBezTo>
                    <a:pt x="54" y="50"/>
                    <a:pt x="52" y="45"/>
                    <a:pt x="52" y="35"/>
                  </a:cubicBezTo>
                  <a:cubicBezTo>
                    <a:pt x="52" y="25"/>
                    <a:pt x="55" y="19"/>
                    <a:pt x="59" y="19"/>
                  </a:cubicBezTo>
                  <a:close/>
                  <a:moveTo>
                    <a:pt x="107" y="34"/>
                  </a:moveTo>
                  <a:cubicBezTo>
                    <a:pt x="107" y="21"/>
                    <a:pt x="103" y="15"/>
                    <a:pt x="94" y="15"/>
                  </a:cubicBezTo>
                  <a:cubicBezTo>
                    <a:pt x="85" y="15"/>
                    <a:pt x="80" y="23"/>
                    <a:pt x="80" y="36"/>
                  </a:cubicBezTo>
                  <a:cubicBezTo>
                    <a:pt x="80" y="48"/>
                    <a:pt x="85" y="54"/>
                    <a:pt x="94" y="54"/>
                  </a:cubicBezTo>
                  <a:cubicBezTo>
                    <a:pt x="100" y="54"/>
                    <a:pt x="103" y="52"/>
                    <a:pt x="107" y="45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1" y="47"/>
                    <a:pt x="99" y="49"/>
                    <a:pt x="96" y="49"/>
                  </a:cubicBezTo>
                  <a:cubicBezTo>
                    <a:pt x="91" y="49"/>
                    <a:pt x="88" y="44"/>
                    <a:pt x="87" y="34"/>
                  </a:cubicBezTo>
                  <a:cubicBezTo>
                    <a:pt x="107" y="34"/>
                    <a:pt x="107" y="34"/>
                    <a:pt x="107" y="34"/>
                  </a:cubicBezTo>
                  <a:close/>
                  <a:moveTo>
                    <a:pt x="87" y="30"/>
                  </a:moveTo>
                  <a:cubicBezTo>
                    <a:pt x="88" y="22"/>
                    <a:pt x="90" y="19"/>
                    <a:pt x="94" y="19"/>
                  </a:cubicBezTo>
                  <a:cubicBezTo>
                    <a:pt x="97" y="19"/>
                    <a:pt x="99" y="22"/>
                    <a:pt x="99" y="30"/>
                  </a:cubicBezTo>
                  <a:cubicBezTo>
                    <a:pt x="87" y="30"/>
                    <a:pt x="87" y="30"/>
                    <a:pt x="87" y="30"/>
                  </a:cubicBezTo>
                  <a:close/>
                  <a:moveTo>
                    <a:pt x="17" y="13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17" y="132"/>
                    <a:pt x="17" y="132"/>
                    <a:pt x="17" y="132"/>
                  </a:cubicBezTo>
                  <a:close/>
                  <a:moveTo>
                    <a:pt x="57" y="132"/>
                  </a:moveTo>
                  <a:cubicBezTo>
                    <a:pt x="57" y="129"/>
                    <a:pt x="57" y="129"/>
                    <a:pt x="57" y="129"/>
                  </a:cubicBezTo>
                  <a:cubicBezTo>
                    <a:pt x="53" y="128"/>
                    <a:pt x="53" y="128"/>
                    <a:pt x="53" y="128"/>
                  </a:cubicBezTo>
                  <a:cubicBezTo>
                    <a:pt x="53" y="104"/>
                    <a:pt x="53" y="104"/>
                    <a:pt x="53" y="104"/>
                  </a:cubicBezTo>
                  <a:cubicBezTo>
                    <a:pt x="53" y="98"/>
                    <a:pt x="50" y="94"/>
                    <a:pt x="44" y="94"/>
                  </a:cubicBezTo>
                  <a:cubicBezTo>
                    <a:pt x="41" y="94"/>
                    <a:pt x="39" y="95"/>
                    <a:pt x="34" y="98"/>
                  </a:cubicBezTo>
                  <a:cubicBezTo>
                    <a:pt x="34" y="94"/>
                    <a:pt x="34" y="94"/>
                    <a:pt x="34" y="94"/>
                  </a:cubicBezTo>
                  <a:cubicBezTo>
                    <a:pt x="32" y="94"/>
                    <a:pt x="32" y="94"/>
                    <a:pt x="32" y="94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7" y="100"/>
                    <a:pt x="27" y="100"/>
                    <a:pt x="27" y="100"/>
                  </a:cubicBezTo>
                  <a:cubicBezTo>
                    <a:pt x="27" y="128"/>
                    <a:pt x="27" y="128"/>
                    <a:pt x="27" y="128"/>
                  </a:cubicBezTo>
                  <a:cubicBezTo>
                    <a:pt x="23" y="129"/>
                    <a:pt x="23" y="129"/>
                    <a:pt x="23" y="129"/>
                  </a:cubicBezTo>
                  <a:cubicBezTo>
                    <a:pt x="23" y="132"/>
                    <a:pt x="23" y="132"/>
                    <a:pt x="23" y="132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29"/>
                    <a:pt x="38" y="129"/>
                    <a:pt x="38" y="129"/>
                  </a:cubicBezTo>
                  <a:cubicBezTo>
                    <a:pt x="34" y="128"/>
                    <a:pt x="34" y="128"/>
                    <a:pt x="34" y="128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37" y="100"/>
                    <a:pt x="39" y="99"/>
                    <a:pt x="42" y="99"/>
                  </a:cubicBezTo>
                  <a:cubicBezTo>
                    <a:pt x="45" y="99"/>
                    <a:pt x="46" y="101"/>
                    <a:pt x="46" y="106"/>
                  </a:cubicBezTo>
                  <a:cubicBezTo>
                    <a:pt x="46" y="128"/>
                    <a:pt x="46" y="128"/>
                    <a:pt x="46" y="128"/>
                  </a:cubicBezTo>
                  <a:cubicBezTo>
                    <a:pt x="42" y="129"/>
                    <a:pt x="42" y="129"/>
                    <a:pt x="42" y="129"/>
                  </a:cubicBezTo>
                  <a:cubicBezTo>
                    <a:pt x="42" y="132"/>
                    <a:pt x="42" y="132"/>
                    <a:pt x="42" y="132"/>
                  </a:cubicBezTo>
                  <a:cubicBezTo>
                    <a:pt x="57" y="132"/>
                    <a:pt x="57" y="132"/>
                    <a:pt x="57" y="132"/>
                  </a:cubicBezTo>
                  <a:close/>
                  <a:moveTo>
                    <a:pt x="93" y="99"/>
                  </a:moveTo>
                  <a:cubicBezTo>
                    <a:pt x="93" y="95"/>
                    <a:pt x="93" y="95"/>
                    <a:pt x="93" y="95"/>
                  </a:cubicBezTo>
                  <a:cubicBezTo>
                    <a:pt x="87" y="95"/>
                    <a:pt x="87" y="95"/>
                    <a:pt x="87" y="95"/>
                  </a:cubicBezTo>
                  <a:cubicBezTo>
                    <a:pt x="86" y="95"/>
                    <a:pt x="86" y="95"/>
                    <a:pt x="86" y="95"/>
                  </a:cubicBezTo>
                  <a:cubicBezTo>
                    <a:pt x="85" y="95"/>
                    <a:pt x="84" y="95"/>
                    <a:pt x="84" y="95"/>
                  </a:cubicBezTo>
                  <a:cubicBezTo>
                    <a:pt x="84" y="95"/>
                    <a:pt x="82" y="95"/>
                    <a:pt x="81" y="94"/>
                  </a:cubicBezTo>
                  <a:cubicBezTo>
                    <a:pt x="78" y="94"/>
                    <a:pt x="78" y="93"/>
                    <a:pt x="76" y="93"/>
                  </a:cubicBezTo>
                  <a:cubicBezTo>
                    <a:pt x="69" y="93"/>
                    <a:pt x="63" y="99"/>
                    <a:pt x="63" y="106"/>
                  </a:cubicBezTo>
                  <a:cubicBezTo>
                    <a:pt x="63" y="111"/>
                    <a:pt x="65" y="114"/>
                    <a:pt x="70" y="117"/>
                  </a:cubicBezTo>
                  <a:cubicBezTo>
                    <a:pt x="65" y="120"/>
                    <a:pt x="63" y="122"/>
                    <a:pt x="63" y="125"/>
                  </a:cubicBezTo>
                  <a:cubicBezTo>
                    <a:pt x="63" y="127"/>
                    <a:pt x="64" y="129"/>
                    <a:pt x="67" y="130"/>
                  </a:cubicBezTo>
                  <a:cubicBezTo>
                    <a:pt x="62" y="133"/>
                    <a:pt x="61" y="135"/>
                    <a:pt x="61" y="138"/>
                  </a:cubicBezTo>
                  <a:cubicBezTo>
                    <a:pt x="61" y="143"/>
                    <a:pt x="66" y="146"/>
                    <a:pt x="75" y="146"/>
                  </a:cubicBezTo>
                  <a:cubicBezTo>
                    <a:pt x="86" y="146"/>
                    <a:pt x="93" y="141"/>
                    <a:pt x="93" y="132"/>
                  </a:cubicBezTo>
                  <a:cubicBezTo>
                    <a:pt x="93" y="127"/>
                    <a:pt x="90" y="124"/>
                    <a:pt x="82" y="124"/>
                  </a:cubicBezTo>
                  <a:cubicBezTo>
                    <a:pt x="73" y="123"/>
                    <a:pt x="73" y="123"/>
                    <a:pt x="73" y="123"/>
                  </a:cubicBezTo>
                  <a:cubicBezTo>
                    <a:pt x="71" y="123"/>
                    <a:pt x="70" y="123"/>
                    <a:pt x="70" y="122"/>
                  </a:cubicBezTo>
                  <a:cubicBezTo>
                    <a:pt x="70" y="121"/>
                    <a:pt x="71" y="119"/>
                    <a:pt x="73" y="118"/>
                  </a:cubicBezTo>
                  <a:cubicBezTo>
                    <a:pt x="74" y="119"/>
                    <a:pt x="75" y="119"/>
                    <a:pt x="77" y="119"/>
                  </a:cubicBezTo>
                  <a:cubicBezTo>
                    <a:pt x="84" y="119"/>
                    <a:pt x="90" y="114"/>
                    <a:pt x="90" y="107"/>
                  </a:cubicBezTo>
                  <a:cubicBezTo>
                    <a:pt x="90" y="104"/>
                    <a:pt x="89" y="102"/>
                    <a:pt x="87" y="99"/>
                  </a:cubicBezTo>
                  <a:cubicBezTo>
                    <a:pt x="93" y="99"/>
                    <a:pt x="93" y="99"/>
                    <a:pt x="93" y="99"/>
                  </a:cubicBezTo>
                  <a:close/>
                  <a:moveTo>
                    <a:pt x="76" y="97"/>
                  </a:moveTo>
                  <a:cubicBezTo>
                    <a:pt x="80" y="97"/>
                    <a:pt x="82" y="100"/>
                    <a:pt x="82" y="107"/>
                  </a:cubicBezTo>
                  <a:cubicBezTo>
                    <a:pt x="82" y="112"/>
                    <a:pt x="80" y="115"/>
                    <a:pt x="77" y="115"/>
                  </a:cubicBezTo>
                  <a:cubicBezTo>
                    <a:pt x="73" y="115"/>
                    <a:pt x="71" y="112"/>
                    <a:pt x="71" y="106"/>
                  </a:cubicBezTo>
                  <a:cubicBezTo>
                    <a:pt x="71" y="100"/>
                    <a:pt x="73" y="97"/>
                    <a:pt x="76" y="97"/>
                  </a:cubicBezTo>
                  <a:close/>
                  <a:moveTo>
                    <a:pt x="74" y="131"/>
                  </a:moveTo>
                  <a:cubicBezTo>
                    <a:pt x="86" y="131"/>
                    <a:pt x="88" y="132"/>
                    <a:pt x="88" y="135"/>
                  </a:cubicBezTo>
                  <a:cubicBezTo>
                    <a:pt x="88" y="139"/>
                    <a:pt x="83" y="142"/>
                    <a:pt x="76" y="142"/>
                  </a:cubicBezTo>
                  <a:cubicBezTo>
                    <a:pt x="71" y="142"/>
                    <a:pt x="68" y="140"/>
                    <a:pt x="68" y="136"/>
                  </a:cubicBezTo>
                  <a:cubicBezTo>
                    <a:pt x="68" y="134"/>
                    <a:pt x="69" y="132"/>
                    <a:pt x="71" y="131"/>
                  </a:cubicBezTo>
                  <a:cubicBezTo>
                    <a:pt x="74" y="131"/>
                    <a:pt x="74" y="131"/>
                    <a:pt x="74" y="1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6"/>
            <p:cNvSpPr>
              <a:spLocks noEditPoints="1"/>
            </p:cNvSpPr>
            <p:nvPr/>
          </p:nvSpPr>
          <p:spPr bwMode="auto">
            <a:xfrm>
              <a:off x="2103438" y="-793750"/>
              <a:ext cx="547687" cy="547687"/>
            </a:xfrm>
            <a:custGeom>
              <a:avLst/>
              <a:gdLst>
                <a:gd name="T0" fmla="*/ 33 w 146"/>
                <a:gd name="T1" fmla="*/ 134 h 146"/>
                <a:gd name="T2" fmla="*/ 12 w 146"/>
                <a:gd name="T3" fmla="*/ 113 h 146"/>
                <a:gd name="T4" fmla="*/ 0 w 146"/>
                <a:gd name="T5" fmla="*/ 73 h 146"/>
                <a:gd name="T6" fmla="*/ 73 w 146"/>
                <a:gd name="T7" fmla="*/ 0 h 146"/>
                <a:gd name="T8" fmla="*/ 146 w 146"/>
                <a:gd name="T9" fmla="*/ 73 h 146"/>
                <a:gd name="T10" fmla="*/ 130 w 146"/>
                <a:gd name="T11" fmla="*/ 119 h 146"/>
                <a:gd name="T12" fmla="*/ 113 w 146"/>
                <a:gd name="T13" fmla="*/ 134 h 146"/>
                <a:gd name="T14" fmla="*/ 113 w 146"/>
                <a:gd name="T15" fmla="*/ 91 h 146"/>
                <a:gd name="T16" fmla="*/ 121 w 146"/>
                <a:gd name="T17" fmla="*/ 91 h 146"/>
                <a:gd name="T18" fmla="*/ 121 w 146"/>
                <a:gd name="T19" fmla="*/ 121 h 146"/>
                <a:gd name="T20" fmla="*/ 131 w 146"/>
                <a:gd name="T21" fmla="*/ 106 h 146"/>
                <a:gd name="T22" fmla="*/ 139 w 146"/>
                <a:gd name="T23" fmla="*/ 73 h 146"/>
                <a:gd name="T24" fmla="*/ 73 w 146"/>
                <a:gd name="T25" fmla="*/ 6 h 146"/>
                <a:gd name="T26" fmla="*/ 7 w 146"/>
                <a:gd name="T27" fmla="*/ 74 h 146"/>
                <a:gd name="T28" fmla="*/ 26 w 146"/>
                <a:gd name="T29" fmla="*/ 121 h 146"/>
                <a:gd name="T30" fmla="*/ 26 w 146"/>
                <a:gd name="T31" fmla="*/ 91 h 146"/>
                <a:gd name="T32" fmla="*/ 33 w 146"/>
                <a:gd name="T33" fmla="*/ 91 h 146"/>
                <a:gd name="T34" fmla="*/ 33 w 146"/>
                <a:gd name="T35" fmla="*/ 134 h 146"/>
                <a:gd name="T36" fmla="*/ 48 w 146"/>
                <a:gd name="T37" fmla="*/ 142 h 146"/>
                <a:gd name="T38" fmla="*/ 40 w 146"/>
                <a:gd name="T39" fmla="*/ 138 h 146"/>
                <a:gd name="T40" fmla="*/ 40 w 146"/>
                <a:gd name="T41" fmla="*/ 91 h 146"/>
                <a:gd name="T42" fmla="*/ 48 w 146"/>
                <a:gd name="T43" fmla="*/ 91 h 146"/>
                <a:gd name="T44" fmla="*/ 48 w 146"/>
                <a:gd name="T45" fmla="*/ 142 h 146"/>
                <a:gd name="T46" fmla="*/ 62 w 146"/>
                <a:gd name="T47" fmla="*/ 145 h 146"/>
                <a:gd name="T48" fmla="*/ 58 w 146"/>
                <a:gd name="T49" fmla="*/ 145 h 146"/>
                <a:gd name="T50" fmla="*/ 55 w 146"/>
                <a:gd name="T51" fmla="*/ 144 h 146"/>
                <a:gd name="T52" fmla="*/ 55 w 146"/>
                <a:gd name="T53" fmla="*/ 44 h 146"/>
                <a:gd name="T54" fmla="*/ 62 w 146"/>
                <a:gd name="T55" fmla="*/ 44 h 146"/>
                <a:gd name="T56" fmla="*/ 62 w 146"/>
                <a:gd name="T57" fmla="*/ 145 h 146"/>
                <a:gd name="T58" fmla="*/ 77 w 146"/>
                <a:gd name="T59" fmla="*/ 146 h 146"/>
                <a:gd name="T60" fmla="*/ 74 w 146"/>
                <a:gd name="T61" fmla="*/ 146 h 146"/>
                <a:gd name="T62" fmla="*/ 70 w 146"/>
                <a:gd name="T63" fmla="*/ 146 h 146"/>
                <a:gd name="T64" fmla="*/ 70 w 146"/>
                <a:gd name="T65" fmla="*/ 44 h 146"/>
                <a:gd name="T66" fmla="*/ 77 w 146"/>
                <a:gd name="T67" fmla="*/ 44 h 146"/>
                <a:gd name="T68" fmla="*/ 77 w 146"/>
                <a:gd name="T69" fmla="*/ 146 h 146"/>
                <a:gd name="T70" fmla="*/ 91 w 146"/>
                <a:gd name="T71" fmla="*/ 144 h 146"/>
                <a:gd name="T72" fmla="*/ 84 w 146"/>
                <a:gd name="T73" fmla="*/ 146 h 146"/>
                <a:gd name="T74" fmla="*/ 84 w 146"/>
                <a:gd name="T75" fmla="*/ 44 h 146"/>
                <a:gd name="T76" fmla="*/ 91 w 146"/>
                <a:gd name="T77" fmla="*/ 44 h 146"/>
                <a:gd name="T78" fmla="*/ 91 w 146"/>
                <a:gd name="T79" fmla="*/ 144 h 146"/>
                <a:gd name="T80" fmla="*/ 91 w 146"/>
                <a:gd name="T81" fmla="*/ 39 h 146"/>
                <a:gd name="T82" fmla="*/ 73 w 146"/>
                <a:gd name="T83" fmla="*/ 24 h 146"/>
                <a:gd name="T84" fmla="*/ 55 w 146"/>
                <a:gd name="T85" fmla="*/ 39 h 146"/>
                <a:gd name="T86" fmla="*/ 51 w 146"/>
                <a:gd name="T87" fmla="*/ 33 h 146"/>
                <a:gd name="T88" fmla="*/ 73 w 146"/>
                <a:gd name="T89" fmla="*/ 16 h 146"/>
                <a:gd name="T90" fmla="*/ 95 w 146"/>
                <a:gd name="T91" fmla="*/ 33 h 146"/>
                <a:gd name="T92" fmla="*/ 91 w 146"/>
                <a:gd name="T93" fmla="*/ 39 h 146"/>
                <a:gd name="T94" fmla="*/ 106 w 146"/>
                <a:gd name="T95" fmla="*/ 138 h 146"/>
                <a:gd name="T96" fmla="*/ 99 w 146"/>
                <a:gd name="T97" fmla="*/ 142 h 146"/>
                <a:gd name="T98" fmla="*/ 99 w 146"/>
                <a:gd name="T99" fmla="*/ 91 h 146"/>
                <a:gd name="T100" fmla="*/ 106 w 146"/>
                <a:gd name="T101" fmla="*/ 91 h 146"/>
                <a:gd name="T102" fmla="*/ 106 w 146"/>
                <a:gd name="T103" fmla="*/ 13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6" h="146">
                  <a:moveTo>
                    <a:pt x="33" y="134"/>
                  </a:moveTo>
                  <a:cubicBezTo>
                    <a:pt x="23" y="127"/>
                    <a:pt x="17" y="121"/>
                    <a:pt x="12" y="113"/>
                  </a:cubicBezTo>
                  <a:cubicBezTo>
                    <a:pt x="4" y="101"/>
                    <a:pt x="0" y="87"/>
                    <a:pt x="0" y="73"/>
                  </a:cubicBez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6" y="33"/>
                    <a:pt x="146" y="73"/>
                  </a:cubicBezTo>
                  <a:cubicBezTo>
                    <a:pt x="146" y="90"/>
                    <a:pt x="140" y="106"/>
                    <a:pt x="130" y="119"/>
                  </a:cubicBezTo>
                  <a:cubicBezTo>
                    <a:pt x="126" y="124"/>
                    <a:pt x="123" y="127"/>
                    <a:pt x="113" y="134"/>
                  </a:cubicBezTo>
                  <a:cubicBezTo>
                    <a:pt x="113" y="91"/>
                    <a:pt x="113" y="91"/>
                    <a:pt x="113" y="91"/>
                  </a:cubicBezTo>
                  <a:cubicBezTo>
                    <a:pt x="121" y="91"/>
                    <a:pt x="121" y="91"/>
                    <a:pt x="121" y="9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6" y="114"/>
                    <a:pt x="128" y="110"/>
                    <a:pt x="131" y="106"/>
                  </a:cubicBezTo>
                  <a:cubicBezTo>
                    <a:pt x="136" y="96"/>
                    <a:pt x="139" y="85"/>
                    <a:pt x="139" y="73"/>
                  </a:cubicBezTo>
                  <a:cubicBezTo>
                    <a:pt x="139" y="36"/>
                    <a:pt x="110" y="6"/>
                    <a:pt x="73" y="6"/>
                  </a:cubicBezTo>
                  <a:cubicBezTo>
                    <a:pt x="36" y="6"/>
                    <a:pt x="7" y="36"/>
                    <a:pt x="7" y="74"/>
                  </a:cubicBezTo>
                  <a:cubicBezTo>
                    <a:pt x="7" y="91"/>
                    <a:pt x="13" y="106"/>
                    <a:pt x="26" y="121"/>
                  </a:cubicBezTo>
                  <a:cubicBezTo>
                    <a:pt x="26" y="91"/>
                    <a:pt x="26" y="91"/>
                    <a:pt x="26" y="91"/>
                  </a:cubicBezTo>
                  <a:cubicBezTo>
                    <a:pt x="33" y="91"/>
                    <a:pt x="33" y="91"/>
                    <a:pt x="33" y="91"/>
                  </a:cubicBezTo>
                  <a:cubicBezTo>
                    <a:pt x="33" y="134"/>
                    <a:pt x="33" y="134"/>
                    <a:pt x="33" y="134"/>
                  </a:cubicBezTo>
                  <a:close/>
                  <a:moveTo>
                    <a:pt x="48" y="142"/>
                  </a:moveTo>
                  <a:cubicBezTo>
                    <a:pt x="46" y="141"/>
                    <a:pt x="43" y="140"/>
                    <a:pt x="40" y="138"/>
                  </a:cubicBezTo>
                  <a:cubicBezTo>
                    <a:pt x="40" y="91"/>
                    <a:pt x="40" y="91"/>
                    <a:pt x="40" y="91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48" y="142"/>
                    <a:pt x="48" y="142"/>
                    <a:pt x="48" y="142"/>
                  </a:cubicBezTo>
                  <a:close/>
                  <a:moveTo>
                    <a:pt x="62" y="145"/>
                  </a:moveTo>
                  <a:cubicBezTo>
                    <a:pt x="60" y="145"/>
                    <a:pt x="59" y="145"/>
                    <a:pt x="58" y="145"/>
                  </a:cubicBezTo>
                  <a:cubicBezTo>
                    <a:pt x="58" y="144"/>
                    <a:pt x="57" y="144"/>
                    <a:pt x="55" y="1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145"/>
                    <a:pt x="62" y="145"/>
                    <a:pt x="62" y="145"/>
                  </a:cubicBezTo>
                  <a:close/>
                  <a:moveTo>
                    <a:pt x="77" y="146"/>
                  </a:moveTo>
                  <a:cubicBezTo>
                    <a:pt x="76" y="146"/>
                    <a:pt x="75" y="146"/>
                    <a:pt x="74" y="146"/>
                  </a:cubicBezTo>
                  <a:cubicBezTo>
                    <a:pt x="72" y="146"/>
                    <a:pt x="71" y="146"/>
                    <a:pt x="70" y="146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146"/>
                    <a:pt x="77" y="146"/>
                    <a:pt x="77" y="146"/>
                  </a:cubicBezTo>
                  <a:close/>
                  <a:moveTo>
                    <a:pt x="91" y="144"/>
                  </a:moveTo>
                  <a:cubicBezTo>
                    <a:pt x="89" y="144"/>
                    <a:pt x="87" y="145"/>
                    <a:pt x="84" y="146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91" y="144"/>
                    <a:pt x="91" y="144"/>
                    <a:pt x="91" y="144"/>
                  </a:cubicBezTo>
                  <a:close/>
                  <a:moveTo>
                    <a:pt x="91" y="39"/>
                  </a:moveTo>
                  <a:cubicBezTo>
                    <a:pt x="73" y="24"/>
                    <a:pt x="73" y="24"/>
                    <a:pt x="73" y="24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1" y="39"/>
                    <a:pt x="91" y="39"/>
                    <a:pt x="91" y="39"/>
                  </a:cubicBezTo>
                  <a:close/>
                  <a:moveTo>
                    <a:pt x="106" y="138"/>
                  </a:moveTo>
                  <a:cubicBezTo>
                    <a:pt x="104" y="139"/>
                    <a:pt x="102" y="140"/>
                    <a:pt x="99" y="142"/>
                  </a:cubicBezTo>
                  <a:cubicBezTo>
                    <a:pt x="99" y="91"/>
                    <a:pt x="99" y="91"/>
                    <a:pt x="99" y="91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6" y="138"/>
                    <a:pt x="106" y="138"/>
                    <a:pt x="106" y="1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8"/>
            <p:cNvSpPr>
              <a:spLocks noEditPoints="1"/>
            </p:cNvSpPr>
            <p:nvPr/>
          </p:nvSpPr>
          <p:spPr bwMode="auto">
            <a:xfrm>
              <a:off x="3124200" y="-779463"/>
              <a:ext cx="449262" cy="509587"/>
            </a:xfrm>
            <a:custGeom>
              <a:avLst/>
              <a:gdLst>
                <a:gd name="T0" fmla="*/ 14 w 120"/>
                <a:gd name="T1" fmla="*/ 100 h 136"/>
                <a:gd name="T2" fmla="*/ 7 w 120"/>
                <a:gd name="T3" fmla="*/ 112 h 136"/>
                <a:gd name="T4" fmla="*/ 48 w 120"/>
                <a:gd name="T5" fmla="*/ 53 h 136"/>
                <a:gd name="T6" fmla="*/ 44 w 120"/>
                <a:gd name="T7" fmla="*/ 29 h 136"/>
                <a:gd name="T8" fmla="*/ 25 w 120"/>
                <a:gd name="T9" fmla="*/ 23 h 136"/>
                <a:gd name="T10" fmla="*/ 23 w 120"/>
                <a:gd name="T11" fmla="*/ 0 h 136"/>
                <a:gd name="T12" fmla="*/ 13 w 120"/>
                <a:gd name="T13" fmla="*/ 5 h 136"/>
                <a:gd name="T14" fmla="*/ 18 w 120"/>
                <a:gd name="T15" fmla="*/ 52 h 136"/>
                <a:gd name="T16" fmla="*/ 13 w 120"/>
                <a:gd name="T17" fmla="*/ 56 h 136"/>
                <a:gd name="T18" fmla="*/ 29 w 120"/>
                <a:gd name="T19" fmla="*/ 53 h 136"/>
                <a:gd name="T20" fmla="*/ 25 w 120"/>
                <a:gd name="T21" fmla="*/ 28 h 136"/>
                <a:gd name="T22" fmla="*/ 36 w 120"/>
                <a:gd name="T23" fmla="*/ 32 h 136"/>
                <a:gd name="T24" fmla="*/ 33 w 120"/>
                <a:gd name="T25" fmla="*/ 53 h 136"/>
                <a:gd name="T26" fmla="*/ 48 w 120"/>
                <a:gd name="T27" fmla="*/ 56 h 136"/>
                <a:gd name="T28" fmla="*/ 62 w 120"/>
                <a:gd name="T29" fmla="*/ 18 h 136"/>
                <a:gd name="T30" fmla="*/ 53 w 120"/>
                <a:gd name="T31" fmla="*/ 23 h 136"/>
                <a:gd name="T32" fmla="*/ 58 w 120"/>
                <a:gd name="T33" fmla="*/ 52 h 136"/>
                <a:gd name="T34" fmla="*/ 53 w 120"/>
                <a:gd name="T35" fmla="*/ 56 h 136"/>
                <a:gd name="T36" fmla="*/ 70 w 120"/>
                <a:gd name="T37" fmla="*/ 53 h 136"/>
                <a:gd name="T38" fmla="*/ 65 w 120"/>
                <a:gd name="T39" fmla="*/ 32 h 136"/>
                <a:gd name="T40" fmla="*/ 74 w 120"/>
                <a:gd name="T41" fmla="*/ 28 h 136"/>
                <a:gd name="T42" fmla="*/ 72 w 120"/>
                <a:gd name="T43" fmla="*/ 19 h 136"/>
                <a:gd name="T44" fmla="*/ 65 w 120"/>
                <a:gd name="T45" fmla="*/ 18 h 136"/>
                <a:gd name="T46" fmla="*/ 83 w 120"/>
                <a:gd name="T47" fmla="*/ 5 h 136"/>
                <a:gd name="T48" fmla="*/ 92 w 120"/>
                <a:gd name="T49" fmla="*/ 5 h 136"/>
                <a:gd name="T50" fmla="*/ 96 w 120"/>
                <a:gd name="T51" fmla="*/ 56 h 136"/>
                <a:gd name="T52" fmla="*/ 92 w 120"/>
                <a:gd name="T53" fmla="*/ 52 h 136"/>
                <a:gd name="T54" fmla="*/ 90 w 120"/>
                <a:gd name="T55" fmla="*/ 19 h 136"/>
                <a:gd name="T56" fmla="*/ 80 w 120"/>
                <a:gd name="T57" fmla="*/ 24 h 136"/>
                <a:gd name="T58" fmla="*/ 84 w 120"/>
                <a:gd name="T59" fmla="*/ 52 h 136"/>
                <a:gd name="T60" fmla="*/ 80 w 120"/>
                <a:gd name="T61" fmla="*/ 56 h 136"/>
                <a:gd name="T62" fmla="*/ 27 w 120"/>
                <a:gd name="T63" fmla="*/ 115 h 136"/>
                <a:gd name="T64" fmla="*/ 14 w 120"/>
                <a:gd name="T65" fmla="*/ 97 h 136"/>
                <a:gd name="T66" fmla="*/ 14 w 120"/>
                <a:gd name="T67" fmla="*/ 136 h 136"/>
                <a:gd name="T68" fmla="*/ 23 w 120"/>
                <a:gd name="T69" fmla="*/ 125 h 136"/>
                <a:gd name="T70" fmla="*/ 7 w 120"/>
                <a:gd name="T71" fmla="*/ 115 h 136"/>
                <a:gd name="T72" fmla="*/ 47 w 120"/>
                <a:gd name="T73" fmla="*/ 135 h 136"/>
                <a:gd name="T74" fmla="*/ 43 w 120"/>
                <a:gd name="T75" fmla="*/ 131 h 136"/>
                <a:gd name="T76" fmla="*/ 41 w 120"/>
                <a:gd name="T77" fmla="*/ 78 h 136"/>
                <a:gd name="T78" fmla="*/ 31 w 120"/>
                <a:gd name="T79" fmla="*/ 83 h 136"/>
                <a:gd name="T80" fmla="*/ 36 w 120"/>
                <a:gd name="T81" fmla="*/ 131 h 136"/>
                <a:gd name="T82" fmla="*/ 31 w 120"/>
                <a:gd name="T83" fmla="*/ 135 h 136"/>
                <a:gd name="T84" fmla="*/ 87 w 120"/>
                <a:gd name="T85" fmla="*/ 135 h 136"/>
                <a:gd name="T86" fmla="*/ 83 w 120"/>
                <a:gd name="T87" fmla="*/ 131 h 136"/>
                <a:gd name="T88" fmla="*/ 74 w 120"/>
                <a:gd name="T89" fmla="*/ 97 h 136"/>
                <a:gd name="T90" fmla="*/ 64 w 120"/>
                <a:gd name="T91" fmla="*/ 78 h 136"/>
                <a:gd name="T92" fmla="*/ 53 w 120"/>
                <a:gd name="T93" fmla="*/ 81 h 136"/>
                <a:gd name="T94" fmla="*/ 57 w 120"/>
                <a:gd name="T95" fmla="*/ 84 h 136"/>
                <a:gd name="T96" fmla="*/ 52 w 120"/>
                <a:gd name="T97" fmla="*/ 132 h 136"/>
                <a:gd name="T98" fmla="*/ 68 w 120"/>
                <a:gd name="T99" fmla="*/ 135 h 136"/>
                <a:gd name="T100" fmla="*/ 64 w 120"/>
                <a:gd name="T101" fmla="*/ 131 h 136"/>
                <a:gd name="T102" fmla="*/ 71 w 120"/>
                <a:gd name="T103" fmla="*/ 103 h 136"/>
                <a:gd name="T104" fmla="*/ 76 w 120"/>
                <a:gd name="T105" fmla="*/ 131 h 136"/>
                <a:gd name="T106" fmla="*/ 72 w 120"/>
                <a:gd name="T107" fmla="*/ 135 h 136"/>
                <a:gd name="T108" fmla="*/ 120 w 120"/>
                <a:gd name="T109" fmla="*/ 115 h 136"/>
                <a:gd name="T110" fmla="*/ 107 w 120"/>
                <a:gd name="T111" fmla="*/ 97 h 136"/>
                <a:gd name="T112" fmla="*/ 107 w 120"/>
                <a:gd name="T113" fmla="*/ 136 h 136"/>
                <a:gd name="T114" fmla="*/ 116 w 120"/>
                <a:gd name="T115" fmla="*/ 125 h 136"/>
                <a:gd name="T116" fmla="*/ 100 w 120"/>
                <a:gd name="T117" fmla="*/ 115 h 136"/>
                <a:gd name="T118" fmla="*/ 100 w 120"/>
                <a:gd name="T119" fmla="*/ 112 h 136"/>
                <a:gd name="T120" fmla="*/ 112 w 120"/>
                <a:gd name="T121" fmla="*/ 11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" h="136">
                  <a:moveTo>
                    <a:pt x="7" y="112"/>
                  </a:moveTo>
                  <a:cubicBezTo>
                    <a:pt x="8" y="104"/>
                    <a:pt x="10" y="100"/>
                    <a:pt x="14" y="100"/>
                  </a:cubicBezTo>
                  <a:cubicBezTo>
                    <a:pt x="17" y="100"/>
                    <a:pt x="19" y="104"/>
                    <a:pt x="19" y="112"/>
                  </a:cubicBezTo>
                  <a:cubicBezTo>
                    <a:pt x="7" y="112"/>
                    <a:pt x="7" y="112"/>
                    <a:pt x="7" y="112"/>
                  </a:cubicBezTo>
                  <a:close/>
                  <a:moveTo>
                    <a:pt x="48" y="56"/>
                  </a:moveTo>
                  <a:cubicBezTo>
                    <a:pt x="48" y="53"/>
                    <a:pt x="48" y="53"/>
                    <a:pt x="48" y="53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2"/>
                    <a:pt x="41" y="19"/>
                    <a:pt x="35" y="19"/>
                  </a:cubicBezTo>
                  <a:cubicBezTo>
                    <a:pt x="32" y="19"/>
                    <a:pt x="29" y="20"/>
                    <a:pt x="25" y="2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8" y="25"/>
                    <a:pt x="30" y="24"/>
                    <a:pt x="32" y="24"/>
                  </a:cubicBezTo>
                  <a:cubicBezTo>
                    <a:pt x="35" y="24"/>
                    <a:pt x="36" y="26"/>
                    <a:pt x="36" y="32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48" y="56"/>
                    <a:pt x="48" y="56"/>
                    <a:pt x="48" y="56"/>
                  </a:cubicBezTo>
                  <a:close/>
                  <a:moveTo>
                    <a:pt x="65" y="18"/>
                  </a:moveTo>
                  <a:cubicBezTo>
                    <a:pt x="62" y="18"/>
                    <a:pt x="62" y="18"/>
                    <a:pt x="62" y="18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5" y="30"/>
                    <a:pt x="67" y="27"/>
                    <a:pt x="70" y="26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6" y="26"/>
                    <a:pt x="76" y="25"/>
                    <a:pt x="76" y="23"/>
                  </a:cubicBezTo>
                  <a:cubicBezTo>
                    <a:pt x="76" y="21"/>
                    <a:pt x="75" y="19"/>
                    <a:pt x="72" y="19"/>
                  </a:cubicBezTo>
                  <a:cubicBezTo>
                    <a:pt x="69" y="19"/>
                    <a:pt x="68" y="20"/>
                    <a:pt x="65" y="26"/>
                  </a:cubicBezTo>
                  <a:cubicBezTo>
                    <a:pt x="65" y="18"/>
                    <a:pt x="65" y="18"/>
                    <a:pt x="65" y="18"/>
                  </a:cubicBezTo>
                  <a:close/>
                  <a:moveTo>
                    <a:pt x="88" y="0"/>
                  </a:moveTo>
                  <a:cubicBezTo>
                    <a:pt x="85" y="0"/>
                    <a:pt x="83" y="2"/>
                    <a:pt x="83" y="5"/>
                  </a:cubicBezTo>
                  <a:cubicBezTo>
                    <a:pt x="83" y="8"/>
                    <a:pt x="85" y="10"/>
                    <a:pt x="88" y="10"/>
                  </a:cubicBezTo>
                  <a:cubicBezTo>
                    <a:pt x="90" y="10"/>
                    <a:pt x="92" y="8"/>
                    <a:pt x="92" y="5"/>
                  </a:cubicBezTo>
                  <a:cubicBezTo>
                    <a:pt x="92" y="2"/>
                    <a:pt x="90" y="0"/>
                    <a:pt x="88" y="0"/>
                  </a:cubicBezTo>
                  <a:close/>
                  <a:moveTo>
                    <a:pt x="96" y="56"/>
                  </a:moveTo>
                  <a:cubicBezTo>
                    <a:pt x="96" y="53"/>
                    <a:pt x="96" y="53"/>
                    <a:pt x="96" y="53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19"/>
                    <a:pt x="92" y="19"/>
                    <a:pt x="92" y="19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80" y="21"/>
                    <a:pt x="80" y="21"/>
                    <a:pt x="80" y="21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0" y="53"/>
                    <a:pt x="80" y="53"/>
                    <a:pt x="80" y="53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96" y="56"/>
                    <a:pt x="96" y="56"/>
                    <a:pt x="96" y="56"/>
                  </a:cubicBezTo>
                  <a:close/>
                  <a:moveTo>
                    <a:pt x="27" y="115"/>
                  </a:moveTo>
                  <a:cubicBezTo>
                    <a:pt x="27" y="110"/>
                    <a:pt x="26" y="108"/>
                    <a:pt x="26" y="106"/>
                  </a:cubicBezTo>
                  <a:cubicBezTo>
                    <a:pt x="24" y="100"/>
                    <a:pt x="20" y="97"/>
                    <a:pt x="14" y="97"/>
                  </a:cubicBezTo>
                  <a:cubicBezTo>
                    <a:pt x="5" y="97"/>
                    <a:pt x="0" y="104"/>
                    <a:pt x="0" y="117"/>
                  </a:cubicBezTo>
                  <a:cubicBezTo>
                    <a:pt x="0" y="129"/>
                    <a:pt x="5" y="136"/>
                    <a:pt x="14" y="136"/>
                  </a:cubicBezTo>
                  <a:cubicBezTo>
                    <a:pt x="20" y="136"/>
                    <a:pt x="23" y="133"/>
                    <a:pt x="27" y="127"/>
                  </a:cubicBezTo>
                  <a:cubicBezTo>
                    <a:pt x="23" y="125"/>
                    <a:pt x="23" y="125"/>
                    <a:pt x="23" y="125"/>
                  </a:cubicBezTo>
                  <a:cubicBezTo>
                    <a:pt x="21" y="129"/>
                    <a:pt x="19" y="130"/>
                    <a:pt x="16" y="130"/>
                  </a:cubicBezTo>
                  <a:cubicBezTo>
                    <a:pt x="11" y="130"/>
                    <a:pt x="8" y="126"/>
                    <a:pt x="7" y="115"/>
                  </a:cubicBezTo>
                  <a:cubicBezTo>
                    <a:pt x="27" y="115"/>
                    <a:pt x="27" y="115"/>
                    <a:pt x="27" y="115"/>
                  </a:cubicBezTo>
                  <a:close/>
                  <a:moveTo>
                    <a:pt x="47" y="135"/>
                  </a:moveTo>
                  <a:cubicBezTo>
                    <a:pt x="47" y="132"/>
                    <a:pt x="47" y="132"/>
                    <a:pt x="47" y="132"/>
                  </a:cubicBezTo>
                  <a:cubicBezTo>
                    <a:pt x="43" y="131"/>
                    <a:pt x="43" y="131"/>
                    <a:pt x="43" y="131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6" y="131"/>
                    <a:pt x="36" y="131"/>
                    <a:pt x="36" y="131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31" y="135"/>
                    <a:pt x="31" y="135"/>
                    <a:pt x="31" y="135"/>
                  </a:cubicBezTo>
                  <a:cubicBezTo>
                    <a:pt x="47" y="135"/>
                    <a:pt x="47" y="135"/>
                    <a:pt x="47" y="135"/>
                  </a:cubicBezTo>
                  <a:close/>
                  <a:moveTo>
                    <a:pt x="87" y="135"/>
                  </a:moveTo>
                  <a:cubicBezTo>
                    <a:pt x="87" y="132"/>
                    <a:pt x="87" y="132"/>
                    <a:pt x="87" y="132"/>
                  </a:cubicBezTo>
                  <a:cubicBezTo>
                    <a:pt x="83" y="131"/>
                    <a:pt x="83" y="131"/>
                    <a:pt x="83" y="131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83" y="101"/>
                    <a:pt x="80" y="97"/>
                    <a:pt x="74" y="97"/>
                  </a:cubicBezTo>
                  <a:cubicBezTo>
                    <a:pt x="71" y="97"/>
                    <a:pt x="68" y="98"/>
                    <a:pt x="64" y="102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131"/>
                    <a:pt x="57" y="131"/>
                    <a:pt x="57" y="131"/>
                  </a:cubicBezTo>
                  <a:cubicBezTo>
                    <a:pt x="52" y="132"/>
                    <a:pt x="52" y="132"/>
                    <a:pt x="52" y="132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8" y="132"/>
                    <a:pt x="68" y="132"/>
                    <a:pt x="68" y="132"/>
                  </a:cubicBezTo>
                  <a:cubicBezTo>
                    <a:pt x="64" y="131"/>
                    <a:pt x="64" y="131"/>
                    <a:pt x="64" y="131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7" y="104"/>
                    <a:pt x="69" y="103"/>
                    <a:pt x="71" y="103"/>
                  </a:cubicBezTo>
                  <a:cubicBezTo>
                    <a:pt x="74" y="103"/>
                    <a:pt x="76" y="105"/>
                    <a:pt x="76" y="110"/>
                  </a:cubicBezTo>
                  <a:cubicBezTo>
                    <a:pt x="76" y="131"/>
                    <a:pt x="76" y="131"/>
                    <a:pt x="76" y="131"/>
                  </a:cubicBezTo>
                  <a:cubicBezTo>
                    <a:pt x="72" y="132"/>
                    <a:pt x="72" y="132"/>
                    <a:pt x="72" y="132"/>
                  </a:cubicBezTo>
                  <a:cubicBezTo>
                    <a:pt x="72" y="135"/>
                    <a:pt x="72" y="135"/>
                    <a:pt x="72" y="135"/>
                  </a:cubicBezTo>
                  <a:cubicBezTo>
                    <a:pt x="87" y="135"/>
                    <a:pt x="87" y="135"/>
                    <a:pt x="87" y="135"/>
                  </a:cubicBezTo>
                  <a:close/>
                  <a:moveTo>
                    <a:pt x="120" y="115"/>
                  </a:moveTo>
                  <a:cubicBezTo>
                    <a:pt x="119" y="110"/>
                    <a:pt x="119" y="108"/>
                    <a:pt x="119" y="106"/>
                  </a:cubicBezTo>
                  <a:cubicBezTo>
                    <a:pt x="117" y="100"/>
                    <a:pt x="113" y="97"/>
                    <a:pt x="107" y="97"/>
                  </a:cubicBezTo>
                  <a:cubicBezTo>
                    <a:pt x="98" y="97"/>
                    <a:pt x="92" y="104"/>
                    <a:pt x="92" y="117"/>
                  </a:cubicBezTo>
                  <a:cubicBezTo>
                    <a:pt x="92" y="129"/>
                    <a:pt x="98" y="136"/>
                    <a:pt x="107" y="136"/>
                  </a:cubicBezTo>
                  <a:cubicBezTo>
                    <a:pt x="113" y="136"/>
                    <a:pt x="116" y="133"/>
                    <a:pt x="120" y="127"/>
                  </a:cubicBezTo>
                  <a:cubicBezTo>
                    <a:pt x="116" y="125"/>
                    <a:pt x="116" y="125"/>
                    <a:pt x="116" y="125"/>
                  </a:cubicBezTo>
                  <a:cubicBezTo>
                    <a:pt x="114" y="129"/>
                    <a:pt x="112" y="130"/>
                    <a:pt x="109" y="130"/>
                  </a:cubicBezTo>
                  <a:cubicBezTo>
                    <a:pt x="103" y="130"/>
                    <a:pt x="101" y="126"/>
                    <a:pt x="100" y="115"/>
                  </a:cubicBezTo>
                  <a:cubicBezTo>
                    <a:pt x="120" y="115"/>
                    <a:pt x="120" y="115"/>
                    <a:pt x="120" y="115"/>
                  </a:cubicBezTo>
                  <a:close/>
                  <a:moveTo>
                    <a:pt x="100" y="112"/>
                  </a:moveTo>
                  <a:cubicBezTo>
                    <a:pt x="101" y="104"/>
                    <a:pt x="103" y="100"/>
                    <a:pt x="106" y="100"/>
                  </a:cubicBezTo>
                  <a:cubicBezTo>
                    <a:pt x="110" y="100"/>
                    <a:pt x="112" y="104"/>
                    <a:pt x="112" y="112"/>
                  </a:cubicBezTo>
                  <a:cubicBezTo>
                    <a:pt x="100" y="112"/>
                    <a:pt x="100" y="112"/>
                    <a:pt x="100" y="1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 9"/>
            <p:cNvSpPr>
              <a:spLocks noEditPoints="1"/>
            </p:cNvSpPr>
            <p:nvPr/>
          </p:nvSpPr>
          <p:spPr bwMode="auto">
            <a:xfrm>
              <a:off x="3506788" y="-711200"/>
              <a:ext cx="490537" cy="438150"/>
            </a:xfrm>
            <a:custGeom>
              <a:avLst/>
              <a:gdLst>
                <a:gd name="T0" fmla="*/ 53 w 131"/>
                <a:gd name="T1" fmla="*/ 22 h 117"/>
                <a:gd name="T2" fmla="*/ 34 w 131"/>
                <a:gd name="T3" fmla="*/ 38 h 117"/>
                <a:gd name="T4" fmla="*/ 30 w 131"/>
                <a:gd name="T5" fmla="*/ 10 h 117"/>
                <a:gd name="T6" fmla="*/ 11 w 131"/>
                <a:gd name="T7" fmla="*/ 0 h 117"/>
                <a:gd name="T8" fmla="*/ 0 w 131"/>
                <a:gd name="T9" fmla="*/ 6 h 117"/>
                <a:gd name="T10" fmla="*/ 0 w 131"/>
                <a:gd name="T11" fmla="*/ 35 h 117"/>
                <a:gd name="T12" fmla="*/ 15 w 131"/>
                <a:gd name="T13" fmla="*/ 35 h 117"/>
                <a:gd name="T14" fmla="*/ 19 w 131"/>
                <a:gd name="T15" fmla="*/ 6 h 117"/>
                <a:gd name="T16" fmla="*/ 19 w 131"/>
                <a:gd name="T17" fmla="*/ 35 h 117"/>
                <a:gd name="T18" fmla="*/ 70 w 131"/>
                <a:gd name="T19" fmla="*/ 6 h 117"/>
                <a:gd name="T20" fmla="*/ 63 w 131"/>
                <a:gd name="T21" fmla="*/ 1 h 117"/>
                <a:gd name="T22" fmla="*/ 53 w 131"/>
                <a:gd name="T23" fmla="*/ 0 h 117"/>
                <a:gd name="T24" fmla="*/ 39 w 131"/>
                <a:gd name="T25" fmla="*/ 31 h 117"/>
                <a:gd name="T26" fmla="*/ 51 w 131"/>
                <a:gd name="T27" fmla="*/ 52 h 117"/>
                <a:gd name="T28" fmla="*/ 50 w 131"/>
                <a:gd name="T29" fmla="*/ 30 h 117"/>
                <a:gd name="T30" fmla="*/ 54 w 131"/>
                <a:gd name="T31" fmla="*/ 25 h 117"/>
                <a:gd name="T32" fmla="*/ 70 w 131"/>
                <a:gd name="T33" fmla="*/ 6 h 117"/>
                <a:gd name="T34" fmla="*/ 53 w 131"/>
                <a:gd name="T35" fmla="*/ 48 h 117"/>
                <a:gd name="T36" fmla="*/ 102 w 131"/>
                <a:gd name="T37" fmla="*/ 19 h 117"/>
                <a:gd name="T38" fmla="*/ 89 w 131"/>
                <a:gd name="T39" fmla="*/ 39 h 117"/>
                <a:gd name="T40" fmla="*/ 91 w 131"/>
                <a:gd name="T41" fmla="*/ 34 h 117"/>
                <a:gd name="T42" fmla="*/ 82 w 131"/>
                <a:gd name="T43" fmla="*/ 15 h 117"/>
                <a:gd name="T44" fmla="*/ 82 w 131"/>
                <a:gd name="T45" fmla="*/ 15 h 117"/>
                <a:gd name="T46" fmla="*/ 108 w 131"/>
                <a:gd name="T47" fmla="*/ 3 h 117"/>
                <a:gd name="T48" fmla="*/ 112 w 131"/>
                <a:gd name="T49" fmla="*/ 34 h 117"/>
                <a:gd name="T50" fmla="*/ 125 w 131"/>
                <a:gd name="T51" fmla="*/ 38 h 117"/>
                <a:gd name="T52" fmla="*/ 120 w 131"/>
                <a:gd name="T53" fmla="*/ 14 h 117"/>
                <a:gd name="T54" fmla="*/ 131 w 131"/>
                <a:gd name="T55" fmla="*/ 5 h 117"/>
                <a:gd name="T56" fmla="*/ 120 w 131"/>
                <a:gd name="T57" fmla="*/ 0 h 117"/>
                <a:gd name="T58" fmla="*/ 31 w 131"/>
                <a:gd name="T59" fmla="*/ 70 h 117"/>
                <a:gd name="T60" fmla="*/ 39 w 131"/>
                <a:gd name="T61" fmla="*/ 117 h 117"/>
                <a:gd name="T62" fmla="*/ 35 w 131"/>
                <a:gd name="T63" fmla="*/ 79 h 117"/>
                <a:gd name="T64" fmla="*/ 24 w 131"/>
                <a:gd name="T65" fmla="*/ 84 h 117"/>
                <a:gd name="T66" fmla="*/ 24 w 131"/>
                <a:gd name="T67" fmla="*/ 114 h 117"/>
                <a:gd name="T68" fmla="*/ 100 w 131"/>
                <a:gd name="T69" fmla="*/ 114 h 117"/>
                <a:gd name="T70" fmla="*/ 86 w 131"/>
                <a:gd name="T71" fmla="*/ 79 h 117"/>
                <a:gd name="T72" fmla="*/ 56 w 131"/>
                <a:gd name="T73" fmla="*/ 84 h 117"/>
                <a:gd name="T74" fmla="*/ 45 w 131"/>
                <a:gd name="T75" fmla="*/ 81 h 117"/>
                <a:gd name="T76" fmla="*/ 49 w 131"/>
                <a:gd name="T77" fmla="*/ 113 h 117"/>
                <a:gd name="T78" fmla="*/ 60 w 131"/>
                <a:gd name="T79" fmla="*/ 117 h 117"/>
                <a:gd name="T80" fmla="*/ 57 w 131"/>
                <a:gd name="T81" fmla="*/ 88 h 117"/>
                <a:gd name="T82" fmla="*/ 69 w 131"/>
                <a:gd name="T83" fmla="*/ 113 h 117"/>
                <a:gd name="T84" fmla="*/ 80 w 131"/>
                <a:gd name="T85" fmla="*/ 117 h 117"/>
                <a:gd name="T86" fmla="*/ 76 w 131"/>
                <a:gd name="T87" fmla="*/ 88 h 117"/>
                <a:gd name="T88" fmla="*/ 88 w 131"/>
                <a:gd name="T89" fmla="*/ 113 h 117"/>
                <a:gd name="T90" fmla="*/ 100 w 131"/>
                <a:gd name="T91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1" h="117">
                  <a:moveTo>
                    <a:pt x="53" y="3"/>
                  </a:moveTo>
                  <a:cubicBezTo>
                    <a:pt x="57" y="3"/>
                    <a:pt x="59" y="6"/>
                    <a:pt x="59" y="13"/>
                  </a:cubicBezTo>
                  <a:cubicBezTo>
                    <a:pt x="59" y="19"/>
                    <a:pt x="57" y="22"/>
                    <a:pt x="53" y="22"/>
                  </a:cubicBezTo>
                  <a:cubicBezTo>
                    <a:pt x="50" y="22"/>
                    <a:pt x="48" y="19"/>
                    <a:pt x="48" y="12"/>
                  </a:cubicBezTo>
                  <a:cubicBezTo>
                    <a:pt x="48" y="6"/>
                    <a:pt x="50" y="3"/>
                    <a:pt x="53" y="3"/>
                  </a:cubicBezTo>
                  <a:close/>
                  <a:moveTo>
                    <a:pt x="34" y="38"/>
                  </a:moveTo>
                  <a:cubicBezTo>
                    <a:pt x="34" y="35"/>
                    <a:pt x="34" y="35"/>
                    <a:pt x="34" y="35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4"/>
                    <a:pt x="27" y="0"/>
                    <a:pt x="21" y="0"/>
                  </a:cubicBezTo>
                  <a:cubicBezTo>
                    <a:pt x="18" y="0"/>
                    <a:pt x="16" y="1"/>
                    <a:pt x="11" y="5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4" y="7"/>
                    <a:pt x="16" y="6"/>
                    <a:pt x="19" y="6"/>
                  </a:cubicBezTo>
                  <a:cubicBezTo>
                    <a:pt x="22" y="6"/>
                    <a:pt x="23" y="8"/>
                    <a:pt x="23" y="12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34" y="38"/>
                    <a:pt x="34" y="38"/>
                    <a:pt x="34" y="38"/>
                  </a:cubicBezTo>
                  <a:close/>
                  <a:moveTo>
                    <a:pt x="70" y="6"/>
                  </a:moveTo>
                  <a:cubicBezTo>
                    <a:pt x="70" y="1"/>
                    <a:pt x="70" y="1"/>
                    <a:pt x="70" y="1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2" y="1"/>
                    <a:pt x="61" y="1"/>
                    <a:pt x="61" y="1"/>
                  </a:cubicBezTo>
                  <a:cubicBezTo>
                    <a:pt x="60" y="1"/>
                    <a:pt x="59" y="1"/>
                    <a:pt x="58" y="1"/>
                  </a:cubicBezTo>
                  <a:cubicBezTo>
                    <a:pt x="55" y="0"/>
                    <a:pt x="54" y="0"/>
                    <a:pt x="53" y="0"/>
                  </a:cubicBezTo>
                  <a:cubicBezTo>
                    <a:pt x="46" y="0"/>
                    <a:pt x="40" y="6"/>
                    <a:pt x="40" y="13"/>
                  </a:cubicBezTo>
                  <a:cubicBezTo>
                    <a:pt x="40" y="18"/>
                    <a:pt x="42" y="20"/>
                    <a:pt x="46" y="23"/>
                  </a:cubicBezTo>
                  <a:cubicBezTo>
                    <a:pt x="41" y="26"/>
                    <a:pt x="39" y="29"/>
                    <a:pt x="39" y="31"/>
                  </a:cubicBezTo>
                  <a:cubicBezTo>
                    <a:pt x="39" y="34"/>
                    <a:pt x="41" y="35"/>
                    <a:pt x="44" y="36"/>
                  </a:cubicBezTo>
                  <a:cubicBezTo>
                    <a:pt x="39" y="39"/>
                    <a:pt x="38" y="41"/>
                    <a:pt x="38" y="44"/>
                  </a:cubicBezTo>
                  <a:cubicBezTo>
                    <a:pt x="38" y="49"/>
                    <a:pt x="43" y="52"/>
                    <a:pt x="51" y="52"/>
                  </a:cubicBezTo>
                  <a:cubicBezTo>
                    <a:pt x="63" y="52"/>
                    <a:pt x="70" y="47"/>
                    <a:pt x="70" y="39"/>
                  </a:cubicBezTo>
                  <a:cubicBezTo>
                    <a:pt x="70" y="33"/>
                    <a:pt x="66" y="30"/>
                    <a:pt x="59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48" y="29"/>
                    <a:pt x="47" y="29"/>
                    <a:pt x="47" y="28"/>
                  </a:cubicBezTo>
                  <a:cubicBezTo>
                    <a:pt x="47" y="27"/>
                    <a:pt x="48" y="26"/>
                    <a:pt x="50" y="25"/>
                  </a:cubicBezTo>
                  <a:cubicBezTo>
                    <a:pt x="51" y="25"/>
                    <a:pt x="52" y="25"/>
                    <a:pt x="54" y="25"/>
                  </a:cubicBezTo>
                  <a:cubicBezTo>
                    <a:pt x="61" y="25"/>
                    <a:pt x="67" y="20"/>
                    <a:pt x="67" y="13"/>
                  </a:cubicBezTo>
                  <a:cubicBezTo>
                    <a:pt x="67" y="10"/>
                    <a:pt x="66" y="8"/>
                    <a:pt x="64" y="6"/>
                  </a:cubicBezTo>
                  <a:cubicBezTo>
                    <a:pt x="70" y="6"/>
                    <a:pt x="70" y="6"/>
                    <a:pt x="70" y="6"/>
                  </a:cubicBezTo>
                  <a:close/>
                  <a:moveTo>
                    <a:pt x="48" y="37"/>
                  </a:moveTo>
                  <a:cubicBezTo>
                    <a:pt x="63" y="38"/>
                    <a:pt x="64" y="38"/>
                    <a:pt x="64" y="42"/>
                  </a:cubicBezTo>
                  <a:cubicBezTo>
                    <a:pt x="64" y="45"/>
                    <a:pt x="60" y="48"/>
                    <a:pt x="53" y="48"/>
                  </a:cubicBezTo>
                  <a:cubicBezTo>
                    <a:pt x="48" y="48"/>
                    <a:pt x="45" y="46"/>
                    <a:pt x="45" y="43"/>
                  </a:cubicBezTo>
                  <a:cubicBezTo>
                    <a:pt x="45" y="40"/>
                    <a:pt x="46" y="39"/>
                    <a:pt x="48" y="37"/>
                  </a:cubicBezTo>
                  <a:close/>
                  <a:moveTo>
                    <a:pt x="102" y="19"/>
                  </a:moveTo>
                  <a:cubicBezTo>
                    <a:pt x="102" y="6"/>
                    <a:pt x="97" y="0"/>
                    <a:pt x="89" y="0"/>
                  </a:cubicBezTo>
                  <a:cubicBezTo>
                    <a:pt x="80" y="0"/>
                    <a:pt x="75" y="8"/>
                    <a:pt x="75" y="21"/>
                  </a:cubicBezTo>
                  <a:cubicBezTo>
                    <a:pt x="75" y="33"/>
                    <a:pt x="80" y="39"/>
                    <a:pt x="89" y="39"/>
                  </a:cubicBezTo>
                  <a:cubicBezTo>
                    <a:pt x="95" y="39"/>
                    <a:pt x="98" y="37"/>
                    <a:pt x="102" y="30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6" y="32"/>
                    <a:pt x="94" y="34"/>
                    <a:pt x="91" y="34"/>
                  </a:cubicBezTo>
                  <a:cubicBezTo>
                    <a:pt x="86" y="34"/>
                    <a:pt x="83" y="29"/>
                    <a:pt x="82" y="19"/>
                  </a:cubicBezTo>
                  <a:cubicBezTo>
                    <a:pt x="102" y="19"/>
                    <a:pt x="102" y="19"/>
                    <a:pt x="102" y="19"/>
                  </a:cubicBezTo>
                  <a:close/>
                  <a:moveTo>
                    <a:pt x="82" y="15"/>
                  </a:moveTo>
                  <a:cubicBezTo>
                    <a:pt x="83" y="7"/>
                    <a:pt x="85" y="4"/>
                    <a:pt x="88" y="4"/>
                  </a:cubicBezTo>
                  <a:cubicBezTo>
                    <a:pt x="92" y="4"/>
                    <a:pt x="94" y="7"/>
                    <a:pt x="94" y="15"/>
                  </a:cubicBezTo>
                  <a:cubicBezTo>
                    <a:pt x="82" y="15"/>
                    <a:pt x="82" y="15"/>
                    <a:pt x="82" y="15"/>
                  </a:cubicBezTo>
                  <a:close/>
                  <a:moveTo>
                    <a:pt x="120" y="0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108" y="3"/>
                    <a:pt x="108" y="3"/>
                    <a:pt x="108" y="3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2" y="34"/>
                    <a:pt x="112" y="34"/>
                    <a:pt x="112" y="34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5" y="35"/>
                    <a:pt x="125" y="35"/>
                    <a:pt x="125" y="35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14"/>
                    <a:pt x="120" y="14"/>
                    <a:pt x="120" y="14"/>
                  </a:cubicBezTo>
                  <a:cubicBezTo>
                    <a:pt x="120" y="12"/>
                    <a:pt x="122" y="9"/>
                    <a:pt x="124" y="8"/>
                  </a:cubicBezTo>
                  <a:cubicBezTo>
                    <a:pt x="128" y="10"/>
                    <a:pt x="128" y="10"/>
                    <a:pt x="128" y="10"/>
                  </a:cubicBezTo>
                  <a:cubicBezTo>
                    <a:pt x="130" y="8"/>
                    <a:pt x="131" y="7"/>
                    <a:pt x="131" y="5"/>
                  </a:cubicBezTo>
                  <a:cubicBezTo>
                    <a:pt x="131" y="3"/>
                    <a:pt x="130" y="1"/>
                    <a:pt x="127" y="1"/>
                  </a:cubicBezTo>
                  <a:cubicBezTo>
                    <a:pt x="124" y="1"/>
                    <a:pt x="123" y="2"/>
                    <a:pt x="120" y="8"/>
                  </a:cubicBezTo>
                  <a:cubicBezTo>
                    <a:pt x="120" y="0"/>
                    <a:pt x="120" y="0"/>
                    <a:pt x="120" y="0"/>
                  </a:cubicBezTo>
                  <a:close/>
                  <a:moveTo>
                    <a:pt x="31" y="60"/>
                  </a:moveTo>
                  <a:cubicBezTo>
                    <a:pt x="28" y="60"/>
                    <a:pt x="26" y="63"/>
                    <a:pt x="26" y="65"/>
                  </a:cubicBezTo>
                  <a:cubicBezTo>
                    <a:pt x="26" y="68"/>
                    <a:pt x="28" y="70"/>
                    <a:pt x="31" y="70"/>
                  </a:cubicBezTo>
                  <a:cubicBezTo>
                    <a:pt x="34" y="70"/>
                    <a:pt x="36" y="68"/>
                    <a:pt x="36" y="65"/>
                  </a:cubicBezTo>
                  <a:cubicBezTo>
                    <a:pt x="36" y="63"/>
                    <a:pt x="34" y="60"/>
                    <a:pt x="31" y="60"/>
                  </a:cubicBezTo>
                  <a:close/>
                  <a:moveTo>
                    <a:pt x="39" y="117"/>
                  </a:moveTo>
                  <a:cubicBezTo>
                    <a:pt x="39" y="114"/>
                    <a:pt x="39" y="114"/>
                    <a:pt x="39" y="114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24" y="82"/>
                    <a:pt x="24" y="82"/>
                    <a:pt x="24" y="82"/>
                  </a:cubicBezTo>
                  <a:cubicBezTo>
                    <a:pt x="24" y="84"/>
                    <a:pt x="24" y="84"/>
                    <a:pt x="24" y="84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24" y="114"/>
                    <a:pt x="24" y="114"/>
                    <a:pt x="24" y="114"/>
                  </a:cubicBezTo>
                  <a:cubicBezTo>
                    <a:pt x="24" y="117"/>
                    <a:pt x="24" y="117"/>
                    <a:pt x="24" y="117"/>
                  </a:cubicBezTo>
                  <a:cubicBezTo>
                    <a:pt x="100" y="117"/>
                    <a:pt x="100" y="117"/>
                    <a:pt x="100" y="117"/>
                  </a:cubicBezTo>
                  <a:cubicBezTo>
                    <a:pt x="100" y="114"/>
                    <a:pt x="100" y="114"/>
                    <a:pt x="100" y="114"/>
                  </a:cubicBezTo>
                  <a:cubicBezTo>
                    <a:pt x="95" y="113"/>
                    <a:pt x="95" y="113"/>
                    <a:pt x="95" y="113"/>
                  </a:cubicBezTo>
                  <a:cubicBezTo>
                    <a:pt x="95" y="90"/>
                    <a:pt x="95" y="90"/>
                    <a:pt x="95" y="90"/>
                  </a:cubicBezTo>
                  <a:cubicBezTo>
                    <a:pt x="95" y="82"/>
                    <a:pt x="93" y="79"/>
                    <a:pt x="86" y="79"/>
                  </a:cubicBezTo>
                  <a:cubicBezTo>
                    <a:pt x="82" y="79"/>
                    <a:pt x="79" y="81"/>
                    <a:pt x="75" y="84"/>
                  </a:cubicBezTo>
                  <a:cubicBezTo>
                    <a:pt x="73" y="81"/>
                    <a:pt x="71" y="79"/>
                    <a:pt x="67" y="79"/>
                  </a:cubicBezTo>
                  <a:cubicBezTo>
                    <a:pt x="63" y="79"/>
                    <a:pt x="60" y="81"/>
                    <a:pt x="56" y="84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113"/>
                    <a:pt x="49" y="113"/>
                    <a:pt x="49" y="113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45" y="117"/>
                    <a:pt x="45" y="117"/>
                    <a:pt x="45" y="117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57" y="113"/>
                    <a:pt x="57" y="113"/>
                    <a:pt x="57" y="113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9" y="85"/>
                    <a:pt x="61" y="84"/>
                    <a:pt x="64" y="84"/>
                  </a:cubicBezTo>
                  <a:cubicBezTo>
                    <a:pt x="67" y="84"/>
                    <a:pt x="69" y="87"/>
                    <a:pt x="69" y="91"/>
                  </a:cubicBezTo>
                  <a:cubicBezTo>
                    <a:pt x="69" y="113"/>
                    <a:pt x="69" y="113"/>
                    <a:pt x="69" y="113"/>
                  </a:cubicBezTo>
                  <a:cubicBezTo>
                    <a:pt x="64" y="114"/>
                    <a:pt x="64" y="114"/>
                    <a:pt x="64" y="114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80" y="117"/>
                    <a:pt x="80" y="117"/>
                    <a:pt x="80" y="117"/>
                  </a:cubicBezTo>
                  <a:cubicBezTo>
                    <a:pt x="80" y="114"/>
                    <a:pt x="80" y="114"/>
                    <a:pt x="80" y="114"/>
                  </a:cubicBezTo>
                  <a:cubicBezTo>
                    <a:pt x="76" y="113"/>
                    <a:pt x="76" y="113"/>
                    <a:pt x="76" y="113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9" y="85"/>
                    <a:pt x="81" y="84"/>
                    <a:pt x="83" y="84"/>
                  </a:cubicBezTo>
                  <a:cubicBezTo>
                    <a:pt x="86" y="84"/>
                    <a:pt x="88" y="86"/>
                    <a:pt x="88" y="92"/>
                  </a:cubicBezTo>
                  <a:cubicBezTo>
                    <a:pt x="88" y="113"/>
                    <a:pt x="88" y="113"/>
                    <a:pt x="88" y="113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7"/>
                    <a:pt x="84" y="117"/>
                    <a:pt x="84" y="117"/>
                  </a:cubicBezTo>
                  <a:cubicBezTo>
                    <a:pt x="100" y="117"/>
                    <a:pt x="100" y="117"/>
                    <a:pt x="100" y="117"/>
                  </a:cubicBezTo>
                  <a:cubicBezTo>
                    <a:pt x="39" y="117"/>
                    <a:pt x="39" y="117"/>
                    <a:pt x="39" y="1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7" name="Slide Number"/>
          <p:cNvSpPr txBox="1">
            <a:spLocks/>
          </p:cNvSpPr>
          <p:nvPr/>
        </p:nvSpPr>
        <p:spPr bwMode="auto">
          <a:xfrm>
            <a:off x="8802412" y="6513631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3818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defTabSz="913818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21426" y="2937165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5059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818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81409" y="542633"/>
            <a:ext cx="878776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auto">
          <a:xfrm>
            <a:off x="175058" y="6193943"/>
            <a:ext cx="8787763" cy="364756"/>
            <a:chOff x="171451" y="6180354"/>
            <a:chExt cx="8612313" cy="35749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71451" y="6180354"/>
              <a:ext cx="861231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5642" indent="-10564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71451" y="6383961"/>
              <a:ext cx="711989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17833" indent="-617833" defTabSz="902646" fontAlgn="base">
                <a:spcBef>
                  <a:spcPct val="0"/>
                </a:spcBef>
                <a:spcAft>
                  <a:spcPct val="0"/>
                </a:spcAft>
                <a:tabLst>
                  <a:tab pos="617833" algn="l"/>
                </a:tabLst>
              </a:pPr>
              <a:r>
                <a:rPr lang="en-US" sz="1000" dirty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21426" y="2339194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8" name="LegendBoxes" hidden="1"/>
          <p:cNvGrpSpPr>
            <a:grpSpLocks/>
          </p:cNvGrpSpPr>
          <p:nvPr/>
        </p:nvGrpSpPr>
        <p:grpSpPr bwMode="auto">
          <a:xfrm>
            <a:off x="8194372" y="275426"/>
            <a:ext cx="774702" cy="1001714"/>
            <a:chOff x="4936" y="176"/>
            <a:chExt cx="488" cy="631"/>
          </a:xfrm>
        </p:grpSpPr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30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32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34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35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36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</p:grpSp>
      <p:grpSp>
        <p:nvGrpSpPr>
          <p:cNvPr id="37" name="LegendLines" hidden="1"/>
          <p:cNvGrpSpPr>
            <a:grpSpLocks/>
          </p:cNvGrpSpPr>
          <p:nvPr/>
        </p:nvGrpSpPr>
        <p:grpSpPr bwMode="auto">
          <a:xfrm>
            <a:off x="7886495" y="275426"/>
            <a:ext cx="1082677" cy="735014"/>
            <a:chOff x="4750" y="176"/>
            <a:chExt cx="682" cy="463"/>
          </a:xfrm>
        </p:grpSpPr>
        <p:sp>
          <p:nvSpPr>
            <p:cNvPr id="38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39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40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</p:grpSp>
      <p:grpSp>
        <p:nvGrpSpPr>
          <p:cNvPr id="44" name="McKSticker" hidden="1"/>
          <p:cNvGrpSpPr/>
          <p:nvPr/>
        </p:nvGrpSpPr>
        <p:grpSpPr bwMode="auto">
          <a:xfrm>
            <a:off x="7880435" y="275426"/>
            <a:ext cx="1088630" cy="216680"/>
            <a:chOff x="7652146" y="285750"/>
            <a:chExt cx="1088629" cy="216680"/>
          </a:xfrm>
        </p:grpSpPr>
        <p:sp>
          <p:nvSpPr>
            <p:cNvPr id="45" name="StickerRectangle"/>
            <p:cNvSpPr>
              <a:spLocks noChangeArrowheads="1"/>
            </p:cNvSpPr>
            <p:nvPr/>
          </p:nvSpPr>
          <p:spPr bwMode="auto">
            <a:xfrm>
              <a:off x="7652146" y="285750"/>
              <a:ext cx="1088629" cy="21668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808080"/>
                  </a:solidFill>
                  <a:cs typeface="Calibri" pitchFamily="34" charset="0"/>
                </a:rPr>
                <a:t>PRELIMINARY</a:t>
              </a:r>
            </a:p>
          </p:txBody>
        </p:sp>
        <p:cxnSp>
          <p:nvCxnSpPr>
            <p:cNvPr id="46" name="AutoShape 31"/>
            <p:cNvCxnSpPr>
              <a:cxnSpLocks noChangeShapeType="1"/>
              <a:stCxn id="45" idx="2"/>
              <a:endCxn id="45" idx="4"/>
            </p:cNvCxnSpPr>
            <p:nvPr/>
          </p:nvCxnSpPr>
          <p:spPr bwMode="auto">
            <a:xfrm>
              <a:off x="7652146" y="285750"/>
              <a:ext cx="0" cy="21668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7" name="AutoShape 32"/>
            <p:cNvCxnSpPr>
              <a:cxnSpLocks noChangeShapeType="1"/>
              <a:stCxn id="45" idx="4"/>
              <a:endCxn id="45" idx="6"/>
            </p:cNvCxnSpPr>
            <p:nvPr/>
          </p:nvCxnSpPr>
          <p:spPr bwMode="auto">
            <a:xfrm>
              <a:off x="7652146" y="502430"/>
              <a:ext cx="108862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8" name="LegendMoons" hidden="1"/>
          <p:cNvGrpSpPr/>
          <p:nvPr/>
        </p:nvGrpSpPr>
        <p:grpSpPr bwMode="auto">
          <a:xfrm>
            <a:off x="8128242" y="275442"/>
            <a:ext cx="840815" cy="1306516"/>
            <a:chOff x="7875175" y="286625"/>
            <a:chExt cx="840815" cy="1306516"/>
          </a:xfrm>
        </p:grpSpPr>
        <p:grpSp>
          <p:nvGrpSpPr>
            <p:cNvPr id="49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7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1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8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1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  <p:grpSp>
          <p:nvGrpSpPr>
            <p:cNvPr id="50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1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1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  <p:grpSp>
          <p:nvGrpSpPr>
            <p:cNvPr id="51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63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1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4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1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  <p:sp>
          <p:nvSpPr>
            <p:cNvPr id="52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53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54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55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56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690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grpSp>
          <p:nvGrpSpPr>
            <p:cNvPr id="57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1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1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  <p:grpSp>
          <p:nvGrpSpPr>
            <p:cNvPr id="58" name="MoonLegend1"/>
            <p:cNvGrpSpPr>
              <a:grpSpLocks noChangeAspect="1"/>
            </p:cNvGrpSpPr>
            <p:nvPr userDrawn="1">
              <p:custDataLst>
                <p:tags r:id="rId18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1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1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</p:grpSp>
      <p:sp>
        <p:nvSpPr>
          <p:cNvPr id="69" name="Rectangle 68"/>
          <p:cNvSpPr/>
          <p:nvPr/>
        </p:nvSpPr>
        <p:spPr>
          <a:xfrm>
            <a:off x="174946" y="6546014"/>
            <a:ext cx="6841963" cy="2198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defTabSz="913818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PRIVILEGED AND CONFIDENTIAL – ATTORNEY WORK PRODUCT – A/C PRIVILEGED</a:t>
            </a:r>
          </a:p>
          <a:p>
            <a:pPr defTabSz="913818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For integration preparation purposes only. All proposals will be subject to appropriate consultation where applicable with employees and employee representative bodies.</a:t>
            </a:r>
          </a:p>
        </p:txBody>
      </p:sp>
    </p:spTree>
    <p:extLst>
      <p:ext uri="{BB962C8B-B14F-4D97-AF65-F5344CB8AC3E}">
        <p14:creationId xmlns:p14="http://schemas.microsoft.com/office/powerpoint/2010/main" val="2056473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hf sldNum="0" hdr="0" ftr="0"/>
  <p:txStyles>
    <p:titleStyle>
      <a:lvl1pPr algn="l" defTabSz="902646" rtl="0" eaLnBrk="1" fontAlgn="base" hangingPunct="1">
        <a:spcBef>
          <a:spcPct val="0"/>
        </a:spcBef>
        <a:spcAft>
          <a:spcPct val="0"/>
        </a:spcAft>
        <a:tabLst>
          <a:tab pos="2720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0883" algn="l" defTabSz="90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1846" algn="l" defTabSz="90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82779" algn="l" defTabSz="90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43703" algn="l" defTabSz="90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5255" indent="-193656" algn="l" defTabSz="90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 baseline="0">
          <a:solidFill>
            <a:schemeClr val="tx1"/>
          </a:solidFill>
          <a:latin typeface="+mn-lt"/>
        </a:defRPr>
      </a:lvl2pPr>
      <a:lvl3pPr marL="460883" indent="-264075" algn="l" defTabSz="90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9371" indent="-156850" algn="l" defTabSz="90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▫"/>
        <a:defRPr sz="1600" baseline="0">
          <a:solidFill>
            <a:schemeClr val="tx1"/>
          </a:solidFill>
          <a:latin typeface="+mn-lt"/>
        </a:defRPr>
      </a:lvl4pPr>
      <a:lvl5pPr marL="755921" indent="-131236" algn="l" defTabSz="90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55921" indent="-131236" algn="l" defTabSz="90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55921" indent="-131236" algn="l" defTabSz="90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55921" indent="-131236" algn="l" defTabSz="90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55921" indent="-131236" algn="l" defTabSz="90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18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0883" algn="l" defTabSz="9218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1846" algn="l" defTabSz="9218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2779" algn="l" defTabSz="9218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3703" algn="l" defTabSz="9218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4633" algn="l" defTabSz="9218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65559" algn="l" defTabSz="9218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26486" algn="l" defTabSz="9218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87412" algn="l" defTabSz="9218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2551864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/>
          <p:cNvSpPr/>
          <p:nvPr/>
        </p:nvSpPr>
        <p:spPr bwMode="ltGray">
          <a:xfrm>
            <a:off x="3239" y="6402452"/>
            <a:ext cx="9140760" cy="379385"/>
          </a:xfrm>
          <a:prstGeom prst="rect">
            <a:avLst/>
          </a:prstGeom>
          <a:solidFill>
            <a:srgbClr val="285888"/>
          </a:solidFill>
          <a:ln w="9525">
            <a:solidFill>
              <a:srgbClr val="28588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188" tIns="46101" rIns="92188" bIns="46101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59872"/>
            <a:endParaRPr lang="en-US" sz="1000" b="1" kern="0" dirty="0">
              <a:solidFill>
                <a:srgbClr val="FFFFFF"/>
              </a:solidFill>
              <a:latin typeface="BISansCond"/>
              <a:cs typeface="Arial" pitchFamily="34" charset="0"/>
            </a:endParaRPr>
          </a:p>
        </p:txBody>
      </p:sp>
      <p:sp>
        <p:nvSpPr>
          <p:cNvPr id="71" name="Rectangle 70"/>
          <p:cNvSpPr/>
          <p:nvPr/>
        </p:nvSpPr>
        <p:spPr bwMode="ltGray">
          <a:xfrm>
            <a:off x="3239" y="6781942"/>
            <a:ext cx="9140760" cy="74551"/>
          </a:xfrm>
          <a:prstGeom prst="rect">
            <a:avLst/>
          </a:prstGeom>
          <a:solidFill>
            <a:srgbClr val="003366"/>
          </a:solidFill>
          <a:ln w="9525">
            <a:solidFill>
              <a:srgbClr val="00336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188" tIns="46101" rIns="92188" bIns="46101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59872"/>
            <a:endParaRPr lang="en-US" sz="1000" b="1" kern="0" dirty="0">
              <a:solidFill>
                <a:srgbClr val="FFFFFF"/>
              </a:solidFill>
              <a:latin typeface="BISansCond"/>
              <a:cs typeface="Arial" pitchFamily="34" charset="0"/>
            </a:endParaRPr>
          </a:p>
        </p:txBody>
      </p:sp>
      <p:grpSp>
        <p:nvGrpSpPr>
          <p:cNvPr id="72" name="Group 71"/>
          <p:cNvGrpSpPr/>
          <p:nvPr/>
        </p:nvGrpSpPr>
        <p:grpSpPr bwMode="auto">
          <a:xfrm>
            <a:off x="7607998" y="6445567"/>
            <a:ext cx="1020082" cy="308657"/>
            <a:chOff x="2103438" y="-793750"/>
            <a:chExt cx="1893887" cy="573087"/>
          </a:xfrm>
        </p:grpSpPr>
        <p:sp>
          <p:nvSpPr>
            <p:cNvPr id="73" name="Freeform 7"/>
            <p:cNvSpPr>
              <a:spLocks noEditPoints="1"/>
            </p:cNvSpPr>
            <p:nvPr/>
          </p:nvSpPr>
          <p:spPr bwMode="auto">
            <a:xfrm>
              <a:off x="2755900" y="-768350"/>
              <a:ext cx="401637" cy="547687"/>
            </a:xfrm>
            <a:custGeom>
              <a:avLst/>
              <a:gdLst>
                <a:gd name="T0" fmla="*/ 13 w 107"/>
                <a:gd name="T1" fmla="*/ 4 h 146"/>
                <a:gd name="T2" fmla="*/ 26 w 107"/>
                <a:gd name="T3" fmla="*/ 13 h 146"/>
                <a:gd name="T4" fmla="*/ 13 w 107"/>
                <a:gd name="T5" fmla="*/ 24 h 146"/>
                <a:gd name="T6" fmla="*/ 0 w 107"/>
                <a:gd name="T7" fmla="*/ 1 h 146"/>
                <a:gd name="T8" fmla="*/ 5 w 107"/>
                <a:gd name="T9" fmla="*/ 5 h 146"/>
                <a:gd name="T10" fmla="*/ 0 w 107"/>
                <a:gd name="T11" fmla="*/ 50 h 146"/>
                <a:gd name="T12" fmla="*/ 9 w 107"/>
                <a:gd name="T13" fmla="*/ 53 h 146"/>
                <a:gd name="T14" fmla="*/ 19 w 107"/>
                <a:gd name="T15" fmla="*/ 54 h 146"/>
                <a:gd name="T16" fmla="*/ 38 w 107"/>
                <a:gd name="T17" fmla="*/ 40 h 146"/>
                <a:gd name="T18" fmla="*/ 35 w 107"/>
                <a:gd name="T19" fmla="*/ 13 h 146"/>
                <a:gd name="T20" fmla="*/ 15 w 107"/>
                <a:gd name="T21" fmla="*/ 0 h 146"/>
                <a:gd name="T22" fmla="*/ 13 w 107"/>
                <a:gd name="T23" fmla="*/ 28 h 146"/>
                <a:gd name="T24" fmla="*/ 29 w 107"/>
                <a:gd name="T25" fmla="*/ 39 h 146"/>
                <a:gd name="T26" fmla="*/ 13 w 107"/>
                <a:gd name="T27" fmla="*/ 49 h 146"/>
                <a:gd name="T28" fmla="*/ 59 w 107"/>
                <a:gd name="T29" fmla="*/ 15 h 146"/>
                <a:gd name="T30" fmla="*/ 59 w 107"/>
                <a:gd name="T31" fmla="*/ 54 h 146"/>
                <a:gd name="T32" fmla="*/ 59 w 107"/>
                <a:gd name="T33" fmla="*/ 15 h 146"/>
                <a:gd name="T34" fmla="*/ 66 w 107"/>
                <a:gd name="T35" fmla="*/ 33 h 146"/>
                <a:gd name="T36" fmla="*/ 52 w 107"/>
                <a:gd name="T37" fmla="*/ 35 h 146"/>
                <a:gd name="T38" fmla="*/ 107 w 107"/>
                <a:gd name="T39" fmla="*/ 34 h 146"/>
                <a:gd name="T40" fmla="*/ 80 w 107"/>
                <a:gd name="T41" fmla="*/ 36 h 146"/>
                <a:gd name="T42" fmla="*/ 107 w 107"/>
                <a:gd name="T43" fmla="*/ 45 h 146"/>
                <a:gd name="T44" fmla="*/ 96 w 107"/>
                <a:gd name="T45" fmla="*/ 49 h 146"/>
                <a:gd name="T46" fmla="*/ 107 w 107"/>
                <a:gd name="T47" fmla="*/ 34 h 146"/>
                <a:gd name="T48" fmla="*/ 94 w 107"/>
                <a:gd name="T49" fmla="*/ 19 h 146"/>
                <a:gd name="T50" fmla="*/ 87 w 107"/>
                <a:gd name="T51" fmla="*/ 30 h 146"/>
                <a:gd name="T52" fmla="*/ 17 w 107"/>
                <a:gd name="T53" fmla="*/ 129 h 146"/>
                <a:gd name="T54" fmla="*/ 13 w 107"/>
                <a:gd name="T55" fmla="*/ 83 h 146"/>
                <a:gd name="T56" fmla="*/ 18 w 107"/>
                <a:gd name="T57" fmla="*/ 79 h 146"/>
                <a:gd name="T58" fmla="*/ 0 w 107"/>
                <a:gd name="T59" fmla="*/ 82 h 146"/>
                <a:gd name="T60" fmla="*/ 5 w 107"/>
                <a:gd name="T61" fmla="*/ 128 h 146"/>
                <a:gd name="T62" fmla="*/ 0 w 107"/>
                <a:gd name="T63" fmla="*/ 132 h 146"/>
                <a:gd name="T64" fmla="*/ 57 w 107"/>
                <a:gd name="T65" fmla="*/ 132 h 146"/>
                <a:gd name="T66" fmla="*/ 53 w 107"/>
                <a:gd name="T67" fmla="*/ 128 h 146"/>
                <a:gd name="T68" fmla="*/ 44 w 107"/>
                <a:gd name="T69" fmla="*/ 94 h 146"/>
                <a:gd name="T70" fmla="*/ 34 w 107"/>
                <a:gd name="T71" fmla="*/ 94 h 146"/>
                <a:gd name="T72" fmla="*/ 23 w 107"/>
                <a:gd name="T73" fmla="*/ 96 h 146"/>
                <a:gd name="T74" fmla="*/ 27 w 107"/>
                <a:gd name="T75" fmla="*/ 100 h 146"/>
                <a:gd name="T76" fmla="*/ 23 w 107"/>
                <a:gd name="T77" fmla="*/ 129 h 146"/>
                <a:gd name="T78" fmla="*/ 38 w 107"/>
                <a:gd name="T79" fmla="*/ 132 h 146"/>
                <a:gd name="T80" fmla="*/ 34 w 107"/>
                <a:gd name="T81" fmla="*/ 128 h 146"/>
                <a:gd name="T82" fmla="*/ 42 w 107"/>
                <a:gd name="T83" fmla="*/ 99 h 146"/>
                <a:gd name="T84" fmla="*/ 46 w 107"/>
                <a:gd name="T85" fmla="*/ 128 h 146"/>
                <a:gd name="T86" fmla="*/ 42 w 107"/>
                <a:gd name="T87" fmla="*/ 132 h 146"/>
                <a:gd name="T88" fmla="*/ 93 w 107"/>
                <a:gd name="T89" fmla="*/ 99 h 146"/>
                <a:gd name="T90" fmla="*/ 87 w 107"/>
                <a:gd name="T91" fmla="*/ 95 h 146"/>
                <a:gd name="T92" fmla="*/ 84 w 107"/>
                <a:gd name="T93" fmla="*/ 95 h 146"/>
                <a:gd name="T94" fmla="*/ 76 w 107"/>
                <a:gd name="T95" fmla="*/ 93 h 146"/>
                <a:gd name="T96" fmla="*/ 70 w 107"/>
                <a:gd name="T97" fmla="*/ 117 h 146"/>
                <a:gd name="T98" fmla="*/ 67 w 107"/>
                <a:gd name="T99" fmla="*/ 130 h 146"/>
                <a:gd name="T100" fmla="*/ 75 w 107"/>
                <a:gd name="T101" fmla="*/ 146 h 146"/>
                <a:gd name="T102" fmla="*/ 82 w 107"/>
                <a:gd name="T103" fmla="*/ 124 h 146"/>
                <a:gd name="T104" fmla="*/ 70 w 107"/>
                <a:gd name="T105" fmla="*/ 122 h 146"/>
                <a:gd name="T106" fmla="*/ 77 w 107"/>
                <a:gd name="T107" fmla="*/ 119 h 146"/>
                <a:gd name="T108" fmla="*/ 87 w 107"/>
                <a:gd name="T109" fmla="*/ 99 h 146"/>
                <a:gd name="T110" fmla="*/ 76 w 107"/>
                <a:gd name="T111" fmla="*/ 97 h 146"/>
                <a:gd name="T112" fmla="*/ 77 w 107"/>
                <a:gd name="T113" fmla="*/ 115 h 146"/>
                <a:gd name="T114" fmla="*/ 76 w 107"/>
                <a:gd name="T115" fmla="*/ 97 h 146"/>
                <a:gd name="T116" fmla="*/ 88 w 107"/>
                <a:gd name="T117" fmla="*/ 135 h 146"/>
                <a:gd name="T118" fmla="*/ 68 w 107"/>
                <a:gd name="T119" fmla="*/ 136 h 146"/>
                <a:gd name="T120" fmla="*/ 74 w 107"/>
                <a:gd name="T121" fmla="*/ 131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7" h="146">
                  <a:moveTo>
                    <a:pt x="13" y="24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15" y="4"/>
                    <a:pt x="16" y="3"/>
                    <a:pt x="17" y="3"/>
                  </a:cubicBezTo>
                  <a:cubicBezTo>
                    <a:pt x="23" y="3"/>
                    <a:pt x="26" y="7"/>
                    <a:pt x="26" y="13"/>
                  </a:cubicBezTo>
                  <a:cubicBezTo>
                    <a:pt x="26" y="21"/>
                    <a:pt x="23" y="24"/>
                    <a:pt x="16" y="24"/>
                  </a:cubicBezTo>
                  <a:cubicBezTo>
                    <a:pt x="13" y="24"/>
                    <a:pt x="13" y="24"/>
                    <a:pt x="13" y="24"/>
                  </a:cubicBezTo>
                  <a:close/>
                  <a:moveTo>
                    <a:pt x="9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10" y="53"/>
                    <a:pt x="12" y="53"/>
                    <a:pt x="15" y="54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5" y="54"/>
                    <a:pt x="27" y="53"/>
                    <a:pt x="30" y="52"/>
                  </a:cubicBezTo>
                  <a:cubicBezTo>
                    <a:pt x="35" y="50"/>
                    <a:pt x="38" y="45"/>
                    <a:pt x="38" y="40"/>
                  </a:cubicBezTo>
                  <a:cubicBezTo>
                    <a:pt x="38" y="32"/>
                    <a:pt x="34" y="27"/>
                    <a:pt x="26" y="25"/>
                  </a:cubicBezTo>
                  <a:cubicBezTo>
                    <a:pt x="32" y="22"/>
                    <a:pt x="35" y="18"/>
                    <a:pt x="35" y="13"/>
                  </a:cubicBezTo>
                  <a:cubicBezTo>
                    <a:pt x="35" y="5"/>
                    <a:pt x="29" y="0"/>
                    <a:pt x="20" y="0"/>
                  </a:cubicBezTo>
                  <a:cubicBezTo>
                    <a:pt x="20" y="0"/>
                    <a:pt x="18" y="0"/>
                    <a:pt x="15" y="0"/>
                  </a:cubicBezTo>
                  <a:cubicBezTo>
                    <a:pt x="9" y="1"/>
                    <a:pt x="9" y="1"/>
                    <a:pt x="9" y="1"/>
                  </a:cubicBezTo>
                  <a:close/>
                  <a:moveTo>
                    <a:pt x="13" y="28"/>
                  </a:moveTo>
                  <a:cubicBezTo>
                    <a:pt x="16" y="28"/>
                    <a:pt x="16" y="28"/>
                    <a:pt x="16" y="28"/>
                  </a:cubicBezTo>
                  <a:cubicBezTo>
                    <a:pt x="25" y="28"/>
                    <a:pt x="29" y="31"/>
                    <a:pt x="29" y="39"/>
                  </a:cubicBezTo>
                  <a:cubicBezTo>
                    <a:pt x="29" y="46"/>
                    <a:pt x="25" y="50"/>
                    <a:pt x="17" y="50"/>
                  </a:cubicBezTo>
                  <a:cubicBezTo>
                    <a:pt x="15" y="50"/>
                    <a:pt x="14" y="50"/>
                    <a:pt x="13" y="49"/>
                  </a:cubicBezTo>
                  <a:cubicBezTo>
                    <a:pt x="13" y="28"/>
                    <a:pt x="13" y="28"/>
                    <a:pt x="13" y="28"/>
                  </a:cubicBezTo>
                  <a:close/>
                  <a:moveTo>
                    <a:pt x="59" y="15"/>
                  </a:moveTo>
                  <a:cubicBezTo>
                    <a:pt x="50" y="15"/>
                    <a:pt x="44" y="23"/>
                    <a:pt x="44" y="35"/>
                  </a:cubicBezTo>
                  <a:cubicBezTo>
                    <a:pt x="44" y="46"/>
                    <a:pt x="50" y="54"/>
                    <a:pt x="59" y="54"/>
                  </a:cubicBezTo>
                  <a:cubicBezTo>
                    <a:pt x="68" y="54"/>
                    <a:pt x="74" y="46"/>
                    <a:pt x="74" y="34"/>
                  </a:cubicBezTo>
                  <a:cubicBezTo>
                    <a:pt x="74" y="23"/>
                    <a:pt x="68" y="15"/>
                    <a:pt x="59" y="15"/>
                  </a:cubicBezTo>
                  <a:close/>
                  <a:moveTo>
                    <a:pt x="59" y="19"/>
                  </a:moveTo>
                  <a:cubicBezTo>
                    <a:pt x="63" y="19"/>
                    <a:pt x="66" y="24"/>
                    <a:pt x="66" y="33"/>
                  </a:cubicBezTo>
                  <a:cubicBezTo>
                    <a:pt x="66" y="44"/>
                    <a:pt x="63" y="50"/>
                    <a:pt x="59" y="50"/>
                  </a:cubicBezTo>
                  <a:cubicBezTo>
                    <a:pt x="54" y="50"/>
                    <a:pt x="52" y="45"/>
                    <a:pt x="52" y="35"/>
                  </a:cubicBezTo>
                  <a:cubicBezTo>
                    <a:pt x="52" y="25"/>
                    <a:pt x="55" y="19"/>
                    <a:pt x="59" y="19"/>
                  </a:cubicBezTo>
                  <a:close/>
                  <a:moveTo>
                    <a:pt x="107" y="34"/>
                  </a:moveTo>
                  <a:cubicBezTo>
                    <a:pt x="107" y="21"/>
                    <a:pt x="103" y="15"/>
                    <a:pt x="94" y="15"/>
                  </a:cubicBezTo>
                  <a:cubicBezTo>
                    <a:pt x="85" y="15"/>
                    <a:pt x="80" y="23"/>
                    <a:pt x="80" y="36"/>
                  </a:cubicBezTo>
                  <a:cubicBezTo>
                    <a:pt x="80" y="48"/>
                    <a:pt x="85" y="54"/>
                    <a:pt x="94" y="54"/>
                  </a:cubicBezTo>
                  <a:cubicBezTo>
                    <a:pt x="100" y="54"/>
                    <a:pt x="103" y="52"/>
                    <a:pt x="107" y="45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1" y="47"/>
                    <a:pt x="99" y="49"/>
                    <a:pt x="96" y="49"/>
                  </a:cubicBezTo>
                  <a:cubicBezTo>
                    <a:pt x="91" y="49"/>
                    <a:pt x="88" y="44"/>
                    <a:pt x="87" y="34"/>
                  </a:cubicBezTo>
                  <a:cubicBezTo>
                    <a:pt x="107" y="34"/>
                    <a:pt x="107" y="34"/>
                    <a:pt x="107" y="34"/>
                  </a:cubicBezTo>
                  <a:close/>
                  <a:moveTo>
                    <a:pt x="87" y="30"/>
                  </a:moveTo>
                  <a:cubicBezTo>
                    <a:pt x="88" y="22"/>
                    <a:pt x="90" y="19"/>
                    <a:pt x="94" y="19"/>
                  </a:cubicBezTo>
                  <a:cubicBezTo>
                    <a:pt x="97" y="19"/>
                    <a:pt x="99" y="22"/>
                    <a:pt x="99" y="30"/>
                  </a:cubicBezTo>
                  <a:cubicBezTo>
                    <a:pt x="87" y="30"/>
                    <a:pt x="87" y="30"/>
                    <a:pt x="87" y="30"/>
                  </a:cubicBezTo>
                  <a:close/>
                  <a:moveTo>
                    <a:pt x="17" y="13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17" y="132"/>
                    <a:pt x="17" y="132"/>
                    <a:pt x="17" y="132"/>
                  </a:cubicBezTo>
                  <a:close/>
                  <a:moveTo>
                    <a:pt x="57" y="132"/>
                  </a:moveTo>
                  <a:cubicBezTo>
                    <a:pt x="57" y="129"/>
                    <a:pt x="57" y="129"/>
                    <a:pt x="57" y="129"/>
                  </a:cubicBezTo>
                  <a:cubicBezTo>
                    <a:pt x="53" y="128"/>
                    <a:pt x="53" y="128"/>
                    <a:pt x="53" y="128"/>
                  </a:cubicBezTo>
                  <a:cubicBezTo>
                    <a:pt x="53" y="104"/>
                    <a:pt x="53" y="104"/>
                    <a:pt x="53" y="104"/>
                  </a:cubicBezTo>
                  <a:cubicBezTo>
                    <a:pt x="53" y="98"/>
                    <a:pt x="50" y="94"/>
                    <a:pt x="44" y="94"/>
                  </a:cubicBezTo>
                  <a:cubicBezTo>
                    <a:pt x="41" y="94"/>
                    <a:pt x="39" y="95"/>
                    <a:pt x="34" y="98"/>
                  </a:cubicBezTo>
                  <a:cubicBezTo>
                    <a:pt x="34" y="94"/>
                    <a:pt x="34" y="94"/>
                    <a:pt x="34" y="94"/>
                  </a:cubicBezTo>
                  <a:cubicBezTo>
                    <a:pt x="32" y="94"/>
                    <a:pt x="32" y="94"/>
                    <a:pt x="32" y="94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7" y="100"/>
                    <a:pt x="27" y="100"/>
                    <a:pt x="27" y="100"/>
                  </a:cubicBezTo>
                  <a:cubicBezTo>
                    <a:pt x="27" y="128"/>
                    <a:pt x="27" y="128"/>
                    <a:pt x="27" y="128"/>
                  </a:cubicBezTo>
                  <a:cubicBezTo>
                    <a:pt x="23" y="129"/>
                    <a:pt x="23" y="129"/>
                    <a:pt x="23" y="129"/>
                  </a:cubicBezTo>
                  <a:cubicBezTo>
                    <a:pt x="23" y="132"/>
                    <a:pt x="23" y="132"/>
                    <a:pt x="23" y="132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29"/>
                    <a:pt x="38" y="129"/>
                    <a:pt x="38" y="129"/>
                  </a:cubicBezTo>
                  <a:cubicBezTo>
                    <a:pt x="34" y="128"/>
                    <a:pt x="34" y="128"/>
                    <a:pt x="34" y="128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37" y="100"/>
                    <a:pt x="39" y="99"/>
                    <a:pt x="42" y="99"/>
                  </a:cubicBezTo>
                  <a:cubicBezTo>
                    <a:pt x="45" y="99"/>
                    <a:pt x="46" y="101"/>
                    <a:pt x="46" y="106"/>
                  </a:cubicBezTo>
                  <a:cubicBezTo>
                    <a:pt x="46" y="128"/>
                    <a:pt x="46" y="128"/>
                    <a:pt x="46" y="128"/>
                  </a:cubicBezTo>
                  <a:cubicBezTo>
                    <a:pt x="42" y="129"/>
                    <a:pt x="42" y="129"/>
                    <a:pt x="42" y="129"/>
                  </a:cubicBezTo>
                  <a:cubicBezTo>
                    <a:pt x="42" y="132"/>
                    <a:pt x="42" y="132"/>
                    <a:pt x="42" y="132"/>
                  </a:cubicBezTo>
                  <a:cubicBezTo>
                    <a:pt x="57" y="132"/>
                    <a:pt x="57" y="132"/>
                    <a:pt x="57" y="132"/>
                  </a:cubicBezTo>
                  <a:close/>
                  <a:moveTo>
                    <a:pt x="93" y="99"/>
                  </a:moveTo>
                  <a:cubicBezTo>
                    <a:pt x="93" y="95"/>
                    <a:pt x="93" y="95"/>
                    <a:pt x="93" y="95"/>
                  </a:cubicBezTo>
                  <a:cubicBezTo>
                    <a:pt x="87" y="95"/>
                    <a:pt x="87" y="95"/>
                    <a:pt x="87" y="95"/>
                  </a:cubicBezTo>
                  <a:cubicBezTo>
                    <a:pt x="86" y="95"/>
                    <a:pt x="86" y="95"/>
                    <a:pt x="86" y="95"/>
                  </a:cubicBezTo>
                  <a:cubicBezTo>
                    <a:pt x="85" y="95"/>
                    <a:pt x="84" y="95"/>
                    <a:pt x="84" y="95"/>
                  </a:cubicBezTo>
                  <a:cubicBezTo>
                    <a:pt x="84" y="95"/>
                    <a:pt x="82" y="95"/>
                    <a:pt x="81" y="94"/>
                  </a:cubicBezTo>
                  <a:cubicBezTo>
                    <a:pt x="78" y="94"/>
                    <a:pt x="78" y="93"/>
                    <a:pt x="76" y="93"/>
                  </a:cubicBezTo>
                  <a:cubicBezTo>
                    <a:pt x="69" y="93"/>
                    <a:pt x="63" y="99"/>
                    <a:pt x="63" y="106"/>
                  </a:cubicBezTo>
                  <a:cubicBezTo>
                    <a:pt x="63" y="111"/>
                    <a:pt x="65" y="114"/>
                    <a:pt x="70" y="117"/>
                  </a:cubicBezTo>
                  <a:cubicBezTo>
                    <a:pt x="65" y="120"/>
                    <a:pt x="63" y="122"/>
                    <a:pt x="63" y="125"/>
                  </a:cubicBezTo>
                  <a:cubicBezTo>
                    <a:pt x="63" y="127"/>
                    <a:pt x="64" y="129"/>
                    <a:pt x="67" y="130"/>
                  </a:cubicBezTo>
                  <a:cubicBezTo>
                    <a:pt x="62" y="133"/>
                    <a:pt x="61" y="135"/>
                    <a:pt x="61" y="138"/>
                  </a:cubicBezTo>
                  <a:cubicBezTo>
                    <a:pt x="61" y="143"/>
                    <a:pt x="66" y="146"/>
                    <a:pt x="75" y="146"/>
                  </a:cubicBezTo>
                  <a:cubicBezTo>
                    <a:pt x="86" y="146"/>
                    <a:pt x="93" y="141"/>
                    <a:pt x="93" y="132"/>
                  </a:cubicBezTo>
                  <a:cubicBezTo>
                    <a:pt x="93" y="127"/>
                    <a:pt x="90" y="124"/>
                    <a:pt x="82" y="124"/>
                  </a:cubicBezTo>
                  <a:cubicBezTo>
                    <a:pt x="73" y="123"/>
                    <a:pt x="73" y="123"/>
                    <a:pt x="73" y="123"/>
                  </a:cubicBezTo>
                  <a:cubicBezTo>
                    <a:pt x="71" y="123"/>
                    <a:pt x="70" y="123"/>
                    <a:pt x="70" y="122"/>
                  </a:cubicBezTo>
                  <a:cubicBezTo>
                    <a:pt x="70" y="121"/>
                    <a:pt x="71" y="119"/>
                    <a:pt x="73" y="118"/>
                  </a:cubicBezTo>
                  <a:cubicBezTo>
                    <a:pt x="74" y="119"/>
                    <a:pt x="75" y="119"/>
                    <a:pt x="77" y="119"/>
                  </a:cubicBezTo>
                  <a:cubicBezTo>
                    <a:pt x="84" y="119"/>
                    <a:pt x="90" y="114"/>
                    <a:pt x="90" y="107"/>
                  </a:cubicBezTo>
                  <a:cubicBezTo>
                    <a:pt x="90" y="104"/>
                    <a:pt x="89" y="102"/>
                    <a:pt x="87" y="99"/>
                  </a:cubicBezTo>
                  <a:cubicBezTo>
                    <a:pt x="93" y="99"/>
                    <a:pt x="93" y="99"/>
                    <a:pt x="93" y="99"/>
                  </a:cubicBezTo>
                  <a:close/>
                  <a:moveTo>
                    <a:pt x="76" y="97"/>
                  </a:moveTo>
                  <a:cubicBezTo>
                    <a:pt x="80" y="97"/>
                    <a:pt x="82" y="100"/>
                    <a:pt x="82" y="107"/>
                  </a:cubicBezTo>
                  <a:cubicBezTo>
                    <a:pt x="82" y="112"/>
                    <a:pt x="80" y="115"/>
                    <a:pt x="77" y="115"/>
                  </a:cubicBezTo>
                  <a:cubicBezTo>
                    <a:pt x="73" y="115"/>
                    <a:pt x="71" y="112"/>
                    <a:pt x="71" y="106"/>
                  </a:cubicBezTo>
                  <a:cubicBezTo>
                    <a:pt x="71" y="100"/>
                    <a:pt x="73" y="97"/>
                    <a:pt x="76" y="97"/>
                  </a:cubicBezTo>
                  <a:close/>
                  <a:moveTo>
                    <a:pt x="74" y="131"/>
                  </a:moveTo>
                  <a:cubicBezTo>
                    <a:pt x="86" y="131"/>
                    <a:pt x="88" y="132"/>
                    <a:pt x="88" y="135"/>
                  </a:cubicBezTo>
                  <a:cubicBezTo>
                    <a:pt x="88" y="139"/>
                    <a:pt x="83" y="142"/>
                    <a:pt x="76" y="142"/>
                  </a:cubicBezTo>
                  <a:cubicBezTo>
                    <a:pt x="71" y="142"/>
                    <a:pt x="68" y="140"/>
                    <a:pt x="68" y="136"/>
                  </a:cubicBezTo>
                  <a:cubicBezTo>
                    <a:pt x="68" y="134"/>
                    <a:pt x="69" y="132"/>
                    <a:pt x="71" y="131"/>
                  </a:cubicBezTo>
                  <a:cubicBezTo>
                    <a:pt x="74" y="131"/>
                    <a:pt x="74" y="131"/>
                    <a:pt x="74" y="1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12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6"/>
            <p:cNvSpPr>
              <a:spLocks noEditPoints="1"/>
            </p:cNvSpPr>
            <p:nvPr/>
          </p:nvSpPr>
          <p:spPr bwMode="auto">
            <a:xfrm>
              <a:off x="2103438" y="-793750"/>
              <a:ext cx="547687" cy="547687"/>
            </a:xfrm>
            <a:custGeom>
              <a:avLst/>
              <a:gdLst>
                <a:gd name="T0" fmla="*/ 33 w 146"/>
                <a:gd name="T1" fmla="*/ 134 h 146"/>
                <a:gd name="T2" fmla="*/ 12 w 146"/>
                <a:gd name="T3" fmla="*/ 113 h 146"/>
                <a:gd name="T4" fmla="*/ 0 w 146"/>
                <a:gd name="T5" fmla="*/ 73 h 146"/>
                <a:gd name="T6" fmla="*/ 73 w 146"/>
                <a:gd name="T7" fmla="*/ 0 h 146"/>
                <a:gd name="T8" fmla="*/ 146 w 146"/>
                <a:gd name="T9" fmla="*/ 73 h 146"/>
                <a:gd name="T10" fmla="*/ 130 w 146"/>
                <a:gd name="T11" fmla="*/ 119 h 146"/>
                <a:gd name="T12" fmla="*/ 113 w 146"/>
                <a:gd name="T13" fmla="*/ 134 h 146"/>
                <a:gd name="T14" fmla="*/ 113 w 146"/>
                <a:gd name="T15" fmla="*/ 91 h 146"/>
                <a:gd name="T16" fmla="*/ 121 w 146"/>
                <a:gd name="T17" fmla="*/ 91 h 146"/>
                <a:gd name="T18" fmla="*/ 121 w 146"/>
                <a:gd name="T19" fmla="*/ 121 h 146"/>
                <a:gd name="T20" fmla="*/ 131 w 146"/>
                <a:gd name="T21" fmla="*/ 106 h 146"/>
                <a:gd name="T22" fmla="*/ 139 w 146"/>
                <a:gd name="T23" fmla="*/ 73 h 146"/>
                <a:gd name="T24" fmla="*/ 73 w 146"/>
                <a:gd name="T25" fmla="*/ 6 h 146"/>
                <a:gd name="T26" fmla="*/ 7 w 146"/>
                <a:gd name="T27" fmla="*/ 74 h 146"/>
                <a:gd name="T28" fmla="*/ 26 w 146"/>
                <a:gd name="T29" fmla="*/ 121 h 146"/>
                <a:gd name="T30" fmla="*/ 26 w 146"/>
                <a:gd name="T31" fmla="*/ 91 h 146"/>
                <a:gd name="T32" fmla="*/ 33 w 146"/>
                <a:gd name="T33" fmla="*/ 91 h 146"/>
                <a:gd name="T34" fmla="*/ 33 w 146"/>
                <a:gd name="T35" fmla="*/ 134 h 146"/>
                <a:gd name="T36" fmla="*/ 48 w 146"/>
                <a:gd name="T37" fmla="*/ 142 h 146"/>
                <a:gd name="T38" fmla="*/ 40 w 146"/>
                <a:gd name="T39" fmla="*/ 138 h 146"/>
                <a:gd name="T40" fmla="*/ 40 w 146"/>
                <a:gd name="T41" fmla="*/ 91 h 146"/>
                <a:gd name="T42" fmla="*/ 48 w 146"/>
                <a:gd name="T43" fmla="*/ 91 h 146"/>
                <a:gd name="T44" fmla="*/ 48 w 146"/>
                <a:gd name="T45" fmla="*/ 142 h 146"/>
                <a:gd name="T46" fmla="*/ 62 w 146"/>
                <a:gd name="T47" fmla="*/ 145 h 146"/>
                <a:gd name="T48" fmla="*/ 58 w 146"/>
                <a:gd name="T49" fmla="*/ 145 h 146"/>
                <a:gd name="T50" fmla="*/ 55 w 146"/>
                <a:gd name="T51" fmla="*/ 144 h 146"/>
                <a:gd name="T52" fmla="*/ 55 w 146"/>
                <a:gd name="T53" fmla="*/ 44 h 146"/>
                <a:gd name="T54" fmla="*/ 62 w 146"/>
                <a:gd name="T55" fmla="*/ 44 h 146"/>
                <a:gd name="T56" fmla="*/ 62 w 146"/>
                <a:gd name="T57" fmla="*/ 145 h 146"/>
                <a:gd name="T58" fmla="*/ 77 w 146"/>
                <a:gd name="T59" fmla="*/ 146 h 146"/>
                <a:gd name="T60" fmla="*/ 74 w 146"/>
                <a:gd name="T61" fmla="*/ 146 h 146"/>
                <a:gd name="T62" fmla="*/ 70 w 146"/>
                <a:gd name="T63" fmla="*/ 146 h 146"/>
                <a:gd name="T64" fmla="*/ 70 w 146"/>
                <a:gd name="T65" fmla="*/ 44 h 146"/>
                <a:gd name="T66" fmla="*/ 77 w 146"/>
                <a:gd name="T67" fmla="*/ 44 h 146"/>
                <a:gd name="T68" fmla="*/ 77 w 146"/>
                <a:gd name="T69" fmla="*/ 146 h 146"/>
                <a:gd name="T70" fmla="*/ 91 w 146"/>
                <a:gd name="T71" fmla="*/ 144 h 146"/>
                <a:gd name="T72" fmla="*/ 84 w 146"/>
                <a:gd name="T73" fmla="*/ 146 h 146"/>
                <a:gd name="T74" fmla="*/ 84 w 146"/>
                <a:gd name="T75" fmla="*/ 44 h 146"/>
                <a:gd name="T76" fmla="*/ 91 w 146"/>
                <a:gd name="T77" fmla="*/ 44 h 146"/>
                <a:gd name="T78" fmla="*/ 91 w 146"/>
                <a:gd name="T79" fmla="*/ 144 h 146"/>
                <a:gd name="T80" fmla="*/ 91 w 146"/>
                <a:gd name="T81" fmla="*/ 39 h 146"/>
                <a:gd name="T82" fmla="*/ 73 w 146"/>
                <a:gd name="T83" fmla="*/ 24 h 146"/>
                <a:gd name="T84" fmla="*/ 55 w 146"/>
                <a:gd name="T85" fmla="*/ 39 h 146"/>
                <a:gd name="T86" fmla="*/ 51 w 146"/>
                <a:gd name="T87" fmla="*/ 33 h 146"/>
                <a:gd name="T88" fmla="*/ 73 w 146"/>
                <a:gd name="T89" fmla="*/ 16 h 146"/>
                <a:gd name="T90" fmla="*/ 95 w 146"/>
                <a:gd name="T91" fmla="*/ 33 h 146"/>
                <a:gd name="T92" fmla="*/ 91 w 146"/>
                <a:gd name="T93" fmla="*/ 39 h 146"/>
                <a:gd name="T94" fmla="*/ 106 w 146"/>
                <a:gd name="T95" fmla="*/ 138 h 146"/>
                <a:gd name="T96" fmla="*/ 99 w 146"/>
                <a:gd name="T97" fmla="*/ 142 h 146"/>
                <a:gd name="T98" fmla="*/ 99 w 146"/>
                <a:gd name="T99" fmla="*/ 91 h 146"/>
                <a:gd name="T100" fmla="*/ 106 w 146"/>
                <a:gd name="T101" fmla="*/ 91 h 146"/>
                <a:gd name="T102" fmla="*/ 106 w 146"/>
                <a:gd name="T103" fmla="*/ 13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6" h="146">
                  <a:moveTo>
                    <a:pt x="33" y="134"/>
                  </a:moveTo>
                  <a:cubicBezTo>
                    <a:pt x="23" y="127"/>
                    <a:pt x="17" y="121"/>
                    <a:pt x="12" y="113"/>
                  </a:cubicBezTo>
                  <a:cubicBezTo>
                    <a:pt x="4" y="101"/>
                    <a:pt x="0" y="87"/>
                    <a:pt x="0" y="73"/>
                  </a:cubicBez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6" y="33"/>
                    <a:pt x="146" y="73"/>
                  </a:cubicBezTo>
                  <a:cubicBezTo>
                    <a:pt x="146" y="90"/>
                    <a:pt x="140" y="106"/>
                    <a:pt x="130" y="119"/>
                  </a:cubicBezTo>
                  <a:cubicBezTo>
                    <a:pt x="126" y="124"/>
                    <a:pt x="123" y="127"/>
                    <a:pt x="113" y="134"/>
                  </a:cubicBezTo>
                  <a:cubicBezTo>
                    <a:pt x="113" y="91"/>
                    <a:pt x="113" y="91"/>
                    <a:pt x="113" y="91"/>
                  </a:cubicBezTo>
                  <a:cubicBezTo>
                    <a:pt x="121" y="91"/>
                    <a:pt x="121" y="91"/>
                    <a:pt x="121" y="9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6" y="114"/>
                    <a:pt x="128" y="110"/>
                    <a:pt x="131" y="106"/>
                  </a:cubicBezTo>
                  <a:cubicBezTo>
                    <a:pt x="136" y="96"/>
                    <a:pt x="139" y="85"/>
                    <a:pt x="139" y="73"/>
                  </a:cubicBezTo>
                  <a:cubicBezTo>
                    <a:pt x="139" y="36"/>
                    <a:pt x="110" y="6"/>
                    <a:pt x="73" y="6"/>
                  </a:cubicBezTo>
                  <a:cubicBezTo>
                    <a:pt x="36" y="6"/>
                    <a:pt x="7" y="36"/>
                    <a:pt x="7" y="74"/>
                  </a:cubicBezTo>
                  <a:cubicBezTo>
                    <a:pt x="7" y="91"/>
                    <a:pt x="13" y="106"/>
                    <a:pt x="26" y="121"/>
                  </a:cubicBezTo>
                  <a:cubicBezTo>
                    <a:pt x="26" y="91"/>
                    <a:pt x="26" y="91"/>
                    <a:pt x="26" y="91"/>
                  </a:cubicBezTo>
                  <a:cubicBezTo>
                    <a:pt x="33" y="91"/>
                    <a:pt x="33" y="91"/>
                    <a:pt x="33" y="91"/>
                  </a:cubicBezTo>
                  <a:cubicBezTo>
                    <a:pt x="33" y="134"/>
                    <a:pt x="33" y="134"/>
                    <a:pt x="33" y="134"/>
                  </a:cubicBezTo>
                  <a:close/>
                  <a:moveTo>
                    <a:pt x="48" y="142"/>
                  </a:moveTo>
                  <a:cubicBezTo>
                    <a:pt x="46" y="141"/>
                    <a:pt x="43" y="140"/>
                    <a:pt x="40" y="138"/>
                  </a:cubicBezTo>
                  <a:cubicBezTo>
                    <a:pt x="40" y="91"/>
                    <a:pt x="40" y="91"/>
                    <a:pt x="40" y="91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48" y="142"/>
                    <a:pt x="48" y="142"/>
                    <a:pt x="48" y="142"/>
                  </a:cubicBezTo>
                  <a:close/>
                  <a:moveTo>
                    <a:pt x="62" y="145"/>
                  </a:moveTo>
                  <a:cubicBezTo>
                    <a:pt x="60" y="145"/>
                    <a:pt x="59" y="145"/>
                    <a:pt x="58" y="145"/>
                  </a:cubicBezTo>
                  <a:cubicBezTo>
                    <a:pt x="58" y="144"/>
                    <a:pt x="57" y="144"/>
                    <a:pt x="55" y="1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145"/>
                    <a:pt x="62" y="145"/>
                    <a:pt x="62" y="145"/>
                  </a:cubicBezTo>
                  <a:close/>
                  <a:moveTo>
                    <a:pt x="77" y="146"/>
                  </a:moveTo>
                  <a:cubicBezTo>
                    <a:pt x="76" y="146"/>
                    <a:pt x="75" y="146"/>
                    <a:pt x="74" y="146"/>
                  </a:cubicBezTo>
                  <a:cubicBezTo>
                    <a:pt x="72" y="146"/>
                    <a:pt x="71" y="146"/>
                    <a:pt x="70" y="146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146"/>
                    <a:pt x="77" y="146"/>
                    <a:pt x="77" y="146"/>
                  </a:cubicBezTo>
                  <a:close/>
                  <a:moveTo>
                    <a:pt x="91" y="144"/>
                  </a:moveTo>
                  <a:cubicBezTo>
                    <a:pt x="89" y="144"/>
                    <a:pt x="87" y="145"/>
                    <a:pt x="84" y="146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91" y="144"/>
                    <a:pt x="91" y="144"/>
                    <a:pt x="91" y="144"/>
                  </a:cubicBezTo>
                  <a:close/>
                  <a:moveTo>
                    <a:pt x="91" y="39"/>
                  </a:moveTo>
                  <a:cubicBezTo>
                    <a:pt x="73" y="24"/>
                    <a:pt x="73" y="24"/>
                    <a:pt x="73" y="24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1" y="39"/>
                    <a:pt x="91" y="39"/>
                    <a:pt x="91" y="39"/>
                  </a:cubicBezTo>
                  <a:close/>
                  <a:moveTo>
                    <a:pt x="106" y="138"/>
                  </a:moveTo>
                  <a:cubicBezTo>
                    <a:pt x="104" y="139"/>
                    <a:pt x="102" y="140"/>
                    <a:pt x="99" y="142"/>
                  </a:cubicBezTo>
                  <a:cubicBezTo>
                    <a:pt x="99" y="91"/>
                    <a:pt x="99" y="91"/>
                    <a:pt x="99" y="91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6" y="138"/>
                    <a:pt x="106" y="138"/>
                    <a:pt x="106" y="1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12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8"/>
            <p:cNvSpPr>
              <a:spLocks noEditPoints="1"/>
            </p:cNvSpPr>
            <p:nvPr/>
          </p:nvSpPr>
          <p:spPr bwMode="auto">
            <a:xfrm>
              <a:off x="3124200" y="-779463"/>
              <a:ext cx="449262" cy="509587"/>
            </a:xfrm>
            <a:custGeom>
              <a:avLst/>
              <a:gdLst>
                <a:gd name="T0" fmla="*/ 14 w 120"/>
                <a:gd name="T1" fmla="*/ 100 h 136"/>
                <a:gd name="T2" fmla="*/ 7 w 120"/>
                <a:gd name="T3" fmla="*/ 112 h 136"/>
                <a:gd name="T4" fmla="*/ 48 w 120"/>
                <a:gd name="T5" fmla="*/ 53 h 136"/>
                <a:gd name="T6" fmla="*/ 44 w 120"/>
                <a:gd name="T7" fmla="*/ 29 h 136"/>
                <a:gd name="T8" fmla="*/ 25 w 120"/>
                <a:gd name="T9" fmla="*/ 23 h 136"/>
                <a:gd name="T10" fmla="*/ 23 w 120"/>
                <a:gd name="T11" fmla="*/ 0 h 136"/>
                <a:gd name="T12" fmla="*/ 13 w 120"/>
                <a:gd name="T13" fmla="*/ 5 h 136"/>
                <a:gd name="T14" fmla="*/ 18 w 120"/>
                <a:gd name="T15" fmla="*/ 52 h 136"/>
                <a:gd name="T16" fmla="*/ 13 w 120"/>
                <a:gd name="T17" fmla="*/ 56 h 136"/>
                <a:gd name="T18" fmla="*/ 29 w 120"/>
                <a:gd name="T19" fmla="*/ 53 h 136"/>
                <a:gd name="T20" fmla="*/ 25 w 120"/>
                <a:gd name="T21" fmla="*/ 28 h 136"/>
                <a:gd name="T22" fmla="*/ 36 w 120"/>
                <a:gd name="T23" fmla="*/ 32 h 136"/>
                <a:gd name="T24" fmla="*/ 33 w 120"/>
                <a:gd name="T25" fmla="*/ 53 h 136"/>
                <a:gd name="T26" fmla="*/ 48 w 120"/>
                <a:gd name="T27" fmla="*/ 56 h 136"/>
                <a:gd name="T28" fmla="*/ 62 w 120"/>
                <a:gd name="T29" fmla="*/ 18 h 136"/>
                <a:gd name="T30" fmla="*/ 53 w 120"/>
                <a:gd name="T31" fmla="*/ 23 h 136"/>
                <a:gd name="T32" fmla="*/ 58 w 120"/>
                <a:gd name="T33" fmla="*/ 52 h 136"/>
                <a:gd name="T34" fmla="*/ 53 w 120"/>
                <a:gd name="T35" fmla="*/ 56 h 136"/>
                <a:gd name="T36" fmla="*/ 70 w 120"/>
                <a:gd name="T37" fmla="*/ 53 h 136"/>
                <a:gd name="T38" fmla="*/ 65 w 120"/>
                <a:gd name="T39" fmla="*/ 32 h 136"/>
                <a:gd name="T40" fmla="*/ 74 w 120"/>
                <a:gd name="T41" fmla="*/ 28 h 136"/>
                <a:gd name="T42" fmla="*/ 72 w 120"/>
                <a:gd name="T43" fmla="*/ 19 h 136"/>
                <a:gd name="T44" fmla="*/ 65 w 120"/>
                <a:gd name="T45" fmla="*/ 18 h 136"/>
                <a:gd name="T46" fmla="*/ 83 w 120"/>
                <a:gd name="T47" fmla="*/ 5 h 136"/>
                <a:gd name="T48" fmla="*/ 92 w 120"/>
                <a:gd name="T49" fmla="*/ 5 h 136"/>
                <a:gd name="T50" fmla="*/ 96 w 120"/>
                <a:gd name="T51" fmla="*/ 56 h 136"/>
                <a:gd name="T52" fmla="*/ 92 w 120"/>
                <a:gd name="T53" fmla="*/ 52 h 136"/>
                <a:gd name="T54" fmla="*/ 90 w 120"/>
                <a:gd name="T55" fmla="*/ 19 h 136"/>
                <a:gd name="T56" fmla="*/ 80 w 120"/>
                <a:gd name="T57" fmla="*/ 24 h 136"/>
                <a:gd name="T58" fmla="*/ 84 w 120"/>
                <a:gd name="T59" fmla="*/ 52 h 136"/>
                <a:gd name="T60" fmla="*/ 80 w 120"/>
                <a:gd name="T61" fmla="*/ 56 h 136"/>
                <a:gd name="T62" fmla="*/ 27 w 120"/>
                <a:gd name="T63" fmla="*/ 115 h 136"/>
                <a:gd name="T64" fmla="*/ 14 w 120"/>
                <a:gd name="T65" fmla="*/ 97 h 136"/>
                <a:gd name="T66" fmla="*/ 14 w 120"/>
                <a:gd name="T67" fmla="*/ 136 h 136"/>
                <a:gd name="T68" fmla="*/ 23 w 120"/>
                <a:gd name="T69" fmla="*/ 125 h 136"/>
                <a:gd name="T70" fmla="*/ 7 w 120"/>
                <a:gd name="T71" fmla="*/ 115 h 136"/>
                <a:gd name="T72" fmla="*/ 47 w 120"/>
                <a:gd name="T73" fmla="*/ 135 h 136"/>
                <a:gd name="T74" fmla="*/ 43 w 120"/>
                <a:gd name="T75" fmla="*/ 131 h 136"/>
                <a:gd name="T76" fmla="*/ 41 w 120"/>
                <a:gd name="T77" fmla="*/ 78 h 136"/>
                <a:gd name="T78" fmla="*/ 31 w 120"/>
                <a:gd name="T79" fmla="*/ 83 h 136"/>
                <a:gd name="T80" fmla="*/ 36 w 120"/>
                <a:gd name="T81" fmla="*/ 131 h 136"/>
                <a:gd name="T82" fmla="*/ 31 w 120"/>
                <a:gd name="T83" fmla="*/ 135 h 136"/>
                <a:gd name="T84" fmla="*/ 87 w 120"/>
                <a:gd name="T85" fmla="*/ 135 h 136"/>
                <a:gd name="T86" fmla="*/ 83 w 120"/>
                <a:gd name="T87" fmla="*/ 131 h 136"/>
                <a:gd name="T88" fmla="*/ 74 w 120"/>
                <a:gd name="T89" fmla="*/ 97 h 136"/>
                <a:gd name="T90" fmla="*/ 64 w 120"/>
                <a:gd name="T91" fmla="*/ 78 h 136"/>
                <a:gd name="T92" fmla="*/ 53 w 120"/>
                <a:gd name="T93" fmla="*/ 81 h 136"/>
                <a:gd name="T94" fmla="*/ 57 w 120"/>
                <a:gd name="T95" fmla="*/ 84 h 136"/>
                <a:gd name="T96" fmla="*/ 52 w 120"/>
                <a:gd name="T97" fmla="*/ 132 h 136"/>
                <a:gd name="T98" fmla="*/ 68 w 120"/>
                <a:gd name="T99" fmla="*/ 135 h 136"/>
                <a:gd name="T100" fmla="*/ 64 w 120"/>
                <a:gd name="T101" fmla="*/ 131 h 136"/>
                <a:gd name="T102" fmla="*/ 71 w 120"/>
                <a:gd name="T103" fmla="*/ 103 h 136"/>
                <a:gd name="T104" fmla="*/ 76 w 120"/>
                <a:gd name="T105" fmla="*/ 131 h 136"/>
                <a:gd name="T106" fmla="*/ 72 w 120"/>
                <a:gd name="T107" fmla="*/ 135 h 136"/>
                <a:gd name="T108" fmla="*/ 120 w 120"/>
                <a:gd name="T109" fmla="*/ 115 h 136"/>
                <a:gd name="T110" fmla="*/ 107 w 120"/>
                <a:gd name="T111" fmla="*/ 97 h 136"/>
                <a:gd name="T112" fmla="*/ 107 w 120"/>
                <a:gd name="T113" fmla="*/ 136 h 136"/>
                <a:gd name="T114" fmla="*/ 116 w 120"/>
                <a:gd name="T115" fmla="*/ 125 h 136"/>
                <a:gd name="T116" fmla="*/ 100 w 120"/>
                <a:gd name="T117" fmla="*/ 115 h 136"/>
                <a:gd name="T118" fmla="*/ 100 w 120"/>
                <a:gd name="T119" fmla="*/ 112 h 136"/>
                <a:gd name="T120" fmla="*/ 112 w 120"/>
                <a:gd name="T121" fmla="*/ 11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" h="136">
                  <a:moveTo>
                    <a:pt x="7" y="112"/>
                  </a:moveTo>
                  <a:cubicBezTo>
                    <a:pt x="8" y="104"/>
                    <a:pt x="10" y="100"/>
                    <a:pt x="14" y="100"/>
                  </a:cubicBezTo>
                  <a:cubicBezTo>
                    <a:pt x="17" y="100"/>
                    <a:pt x="19" y="104"/>
                    <a:pt x="19" y="112"/>
                  </a:cubicBezTo>
                  <a:cubicBezTo>
                    <a:pt x="7" y="112"/>
                    <a:pt x="7" y="112"/>
                    <a:pt x="7" y="112"/>
                  </a:cubicBezTo>
                  <a:close/>
                  <a:moveTo>
                    <a:pt x="48" y="56"/>
                  </a:moveTo>
                  <a:cubicBezTo>
                    <a:pt x="48" y="53"/>
                    <a:pt x="48" y="53"/>
                    <a:pt x="48" y="53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2"/>
                    <a:pt x="41" y="19"/>
                    <a:pt x="35" y="19"/>
                  </a:cubicBezTo>
                  <a:cubicBezTo>
                    <a:pt x="32" y="19"/>
                    <a:pt x="29" y="20"/>
                    <a:pt x="25" y="2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8" y="25"/>
                    <a:pt x="30" y="24"/>
                    <a:pt x="32" y="24"/>
                  </a:cubicBezTo>
                  <a:cubicBezTo>
                    <a:pt x="35" y="24"/>
                    <a:pt x="36" y="26"/>
                    <a:pt x="36" y="32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48" y="56"/>
                    <a:pt x="48" y="56"/>
                    <a:pt x="48" y="56"/>
                  </a:cubicBezTo>
                  <a:close/>
                  <a:moveTo>
                    <a:pt x="65" y="18"/>
                  </a:moveTo>
                  <a:cubicBezTo>
                    <a:pt x="62" y="18"/>
                    <a:pt x="62" y="18"/>
                    <a:pt x="62" y="18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5" y="30"/>
                    <a:pt x="67" y="27"/>
                    <a:pt x="70" y="26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6" y="26"/>
                    <a:pt x="76" y="25"/>
                    <a:pt x="76" y="23"/>
                  </a:cubicBezTo>
                  <a:cubicBezTo>
                    <a:pt x="76" y="21"/>
                    <a:pt x="75" y="19"/>
                    <a:pt x="72" y="19"/>
                  </a:cubicBezTo>
                  <a:cubicBezTo>
                    <a:pt x="69" y="19"/>
                    <a:pt x="68" y="20"/>
                    <a:pt x="65" y="26"/>
                  </a:cubicBezTo>
                  <a:cubicBezTo>
                    <a:pt x="65" y="18"/>
                    <a:pt x="65" y="18"/>
                    <a:pt x="65" y="18"/>
                  </a:cubicBezTo>
                  <a:close/>
                  <a:moveTo>
                    <a:pt x="88" y="0"/>
                  </a:moveTo>
                  <a:cubicBezTo>
                    <a:pt x="85" y="0"/>
                    <a:pt x="83" y="2"/>
                    <a:pt x="83" y="5"/>
                  </a:cubicBezTo>
                  <a:cubicBezTo>
                    <a:pt x="83" y="8"/>
                    <a:pt x="85" y="10"/>
                    <a:pt x="88" y="10"/>
                  </a:cubicBezTo>
                  <a:cubicBezTo>
                    <a:pt x="90" y="10"/>
                    <a:pt x="92" y="8"/>
                    <a:pt x="92" y="5"/>
                  </a:cubicBezTo>
                  <a:cubicBezTo>
                    <a:pt x="92" y="2"/>
                    <a:pt x="90" y="0"/>
                    <a:pt x="88" y="0"/>
                  </a:cubicBezTo>
                  <a:close/>
                  <a:moveTo>
                    <a:pt x="96" y="56"/>
                  </a:moveTo>
                  <a:cubicBezTo>
                    <a:pt x="96" y="53"/>
                    <a:pt x="96" y="53"/>
                    <a:pt x="96" y="53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19"/>
                    <a:pt x="92" y="19"/>
                    <a:pt x="92" y="19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80" y="21"/>
                    <a:pt x="80" y="21"/>
                    <a:pt x="80" y="21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0" y="53"/>
                    <a:pt x="80" y="53"/>
                    <a:pt x="80" y="53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96" y="56"/>
                    <a:pt x="96" y="56"/>
                    <a:pt x="96" y="56"/>
                  </a:cubicBezTo>
                  <a:close/>
                  <a:moveTo>
                    <a:pt x="27" y="115"/>
                  </a:moveTo>
                  <a:cubicBezTo>
                    <a:pt x="27" y="110"/>
                    <a:pt x="26" y="108"/>
                    <a:pt x="26" y="106"/>
                  </a:cubicBezTo>
                  <a:cubicBezTo>
                    <a:pt x="24" y="100"/>
                    <a:pt x="20" y="97"/>
                    <a:pt x="14" y="97"/>
                  </a:cubicBezTo>
                  <a:cubicBezTo>
                    <a:pt x="5" y="97"/>
                    <a:pt x="0" y="104"/>
                    <a:pt x="0" y="117"/>
                  </a:cubicBezTo>
                  <a:cubicBezTo>
                    <a:pt x="0" y="129"/>
                    <a:pt x="5" y="136"/>
                    <a:pt x="14" y="136"/>
                  </a:cubicBezTo>
                  <a:cubicBezTo>
                    <a:pt x="20" y="136"/>
                    <a:pt x="23" y="133"/>
                    <a:pt x="27" y="127"/>
                  </a:cubicBezTo>
                  <a:cubicBezTo>
                    <a:pt x="23" y="125"/>
                    <a:pt x="23" y="125"/>
                    <a:pt x="23" y="125"/>
                  </a:cubicBezTo>
                  <a:cubicBezTo>
                    <a:pt x="21" y="129"/>
                    <a:pt x="19" y="130"/>
                    <a:pt x="16" y="130"/>
                  </a:cubicBezTo>
                  <a:cubicBezTo>
                    <a:pt x="11" y="130"/>
                    <a:pt x="8" y="126"/>
                    <a:pt x="7" y="115"/>
                  </a:cubicBezTo>
                  <a:cubicBezTo>
                    <a:pt x="27" y="115"/>
                    <a:pt x="27" y="115"/>
                    <a:pt x="27" y="115"/>
                  </a:cubicBezTo>
                  <a:close/>
                  <a:moveTo>
                    <a:pt x="47" y="135"/>
                  </a:moveTo>
                  <a:cubicBezTo>
                    <a:pt x="47" y="132"/>
                    <a:pt x="47" y="132"/>
                    <a:pt x="47" y="132"/>
                  </a:cubicBezTo>
                  <a:cubicBezTo>
                    <a:pt x="43" y="131"/>
                    <a:pt x="43" y="131"/>
                    <a:pt x="43" y="131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6" y="131"/>
                    <a:pt x="36" y="131"/>
                    <a:pt x="36" y="131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31" y="135"/>
                    <a:pt x="31" y="135"/>
                    <a:pt x="31" y="135"/>
                  </a:cubicBezTo>
                  <a:cubicBezTo>
                    <a:pt x="47" y="135"/>
                    <a:pt x="47" y="135"/>
                    <a:pt x="47" y="135"/>
                  </a:cubicBezTo>
                  <a:close/>
                  <a:moveTo>
                    <a:pt x="87" y="135"/>
                  </a:moveTo>
                  <a:cubicBezTo>
                    <a:pt x="87" y="132"/>
                    <a:pt x="87" y="132"/>
                    <a:pt x="87" y="132"/>
                  </a:cubicBezTo>
                  <a:cubicBezTo>
                    <a:pt x="83" y="131"/>
                    <a:pt x="83" y="131"/>
                    <a:pt x="83" y="131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83" y="101"/>
                    <a:pt x="80" y="97"/>
                    <a:pt x="74" y="97"/>
                  </a:cubicBezTo>
                  <a:cubicBezTo>
                    <a:pt x="71" y="97"/>
                    <a:pt x="68" y="98"/>
                    <a:pt x="64" y="102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131"/>
                    <a:pt x="57" y="131"/>
                    <a:pt x="57" y="131"/>
                  </a:cubicBezTo>
                  <a:cubicBezTo>
                    <a:pt x="52" y="132"/>
                    <a:pt x="52" y="132"/>
                    <a:pt x="52" y="132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8" y="132"/>
                    <a:pt x="68" y="132"/>
                    <a:pt x="68" y="132"/>
                  </a:cubicBezTo>
                  <a:cubicBezTo>
                    <a:pt x="64" y="131"/>
                    <a:pt x="64" y="131"/>
                    <a:pt x="64" y="131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7" y="104"/>
                    <a:pt x="69" y="103"/>
                    <a:pt x="71" y="103"/>
                  </a:cubicBezTo>
                  <a:cubicBezTo>
                    <a:pt x="74" y="103"/>
                    <a:pt x="76" y="105"/>
                    <a:pt x="76" y="110"/>
                  </a:cubicBezTo>
                  <a:cubicBezTo>
                    <a:pt x="76" y="131"/>
                    <a:pt x="76" y="131"/>
                    <a:pt x="76" y="131"/>
                  </a:cubicBezTo>
                  <a:cubicBezTo>
                    <a:pt x="72" y="132"/>
                    <a:pt x="72" y="132"/>
                    <a:pt x="72" y="132"/>
                  </a:cubicBezTo>
                  <a:cubicBezTo>
                    <a:pt x="72" y="135"/>
                    <a:pt x="72" y="135"/>
                    <a:pt x="72" y="135"/>
                  </a:cubicBezTo>
                  <a:cubicBezTo>
                    <a:pt x="87" y="135"/>
                    <a:pt x="87" y="135"/>
                    <a:pt x="87" y="135"/>
                  </a:cubicBezTo>
                  <a:close/>
                  <a:moveTo>
                    <a:pt x="120" y="115"/>
                  </a:moveTo>
                  <a:cubicBezTo>
                    <a:pt x="119" y="110"/>
                    <a:pt x="119" y="108"/>
                    <a:pt x="119" y="106"/>
                  </a:cubicBezTo>
                  <a:cubicBezTo>
                    <a:pt x="117" y="100"/>
                    <a:pt x="113" y="97"/>
                    <a:pt x="107" y="97"/>
                  </a:cubicBezTo>
                  <a:cubicBezTo>
                    <a:pt x="98" y="97"/>
                    <a:pt x="92" y="104"/>
                    <a:pt x="92" y="117"/>
                  </a:cubicBezTo>
                  <a:cubicBezTo>
                    <a:pt x="92" y="129"/>
                    <a:pt x="98" y="136"/>
                    <a:pt x="107" y="136"/>
                  </a:cubicBezTo>
                  <a:cubicBezTo>
                    <a:pt x="113" y="136"/>
                    <a:pt x="116" y="133"/>
                    <a:pt x="120" y="127"/>
                  </a:cubicBezTo>
                  <a:cubicBezTo>
                    <a:pt x="116" y="125"/>
                    <a:pt x="116" y="125"/>
                    <a:pt x="116" y="125"/>
                  </a:cubicBezTo>
                  <a:cubicBezTo>
                    <a:pt x="114" y="129"/>
                    <a:pt x="112" y="130"/>
                    <a:pt x="109" y="130"/>
                  </a:cubicBezTo>
                  <a:cubicBezTo>
                    <a:pt x="103" y="130"/>
                    <a:pt x="101" y="126"/>
                    <a:pt x="100" y="115"/>
                  </a:cubicBezTo>
                  <a:cubicBezTo>
                    <a:pt x="120" y="115"/>
                    <a:pt x="120" y="115"/>
                    <a:pt x="120" y="115"/>
                  </a:cubicBezTo>
                  <a:close/>
                  <a:moveTo>
                    <a:pt x="100" y="112"/>
                  </a:moveTo>
                  <a:cubicBezTo>
                    <a:pt x="101" y="104"/>
                    <a:pt x="103" y="100"/>
                    <a:pt x="106" y="100"/>
                  </a:cubicBezTo>
                  <a:cubicBezTo>
                    <a:pt x="110" y="100"/>
                    <a:pt x="112" y="104"/>
                    <a:pt x="112" y="112"/>
                  </a:cubicBezTo>
                  <a:cubicBezTo>
                    <a:pt x="100" y="112"/>
                    <a:pt x="100" y="112"/>
                    <a:pt x="100" y="1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12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 9"/>
            <p:cNvSpPr>
              <a:spLocks noEditPoints="1"/>
            </p:cNvSpPr>
            <p:nvPr/>
          </p:nvSpPr>
          <p:spPr bwMode="auto">
            <a:xfrm>
              <a:off x="3506788" y="-711200"/>
              <a:ext cx="490537" cy="438150"/>
            </a:xfrm>
            <a:custGeom>
              <a:avLst/>
              <a:gdLst>
                <a:gd name="T0" fmla="*/ 53 w 131"/>
                <a:gd name="T1" fmla="*/ 22 h 117"/>
                <a:gd name="T2" fmla="*/ 34 w 131"/>
                <a:gd name="T3" fmla="*/ 38 h 117"/>
                <a:gd name="T4" fmla="*/ 30 w 131"/>
                <a:gd name="T5" fmla="*/ 10 h 117"/>
                <a:gd name="T6" fmla="*/ 11 w 131"/>
                <a:gd name="T7" fmla="*/ 0 h 117"/>
                <a:gd name="T8" fmla="*/ 0 w 131"/>
                <a:gd name="T9" fmla="*/ 6 h 117"/>
                <a:gd name="T10" fmla="*/ 0 w 131"/>
                <a:gd name="T11" fmla="*/ 35 h 117"/>
                <a:gd name="T12" fmla="*/ 15 w 131"/>
                <a:gd name="T13" fmla="*/ 35 h 117"/>
                <a:gd name="T14" fmla="*/ 19 w 131"/>
                <a:gd name="T15" fmla="*/ 6 h 117"/>
                <a:gd name="T16" fmla="*/ 19 w 131"/>
                <a:gd name="T17" fmla="*/ 35 h 117"/>
                <a:gd name="T18" fmla="*/ 70 w 131"/>
                <a:gd name="T19" fmla="*/ 6 h 117"/>
                <a:gd name="T20" fmla="*/ 63 w 131"/>
                <a:gd name="T21" fmla="*/ 1 h 117"/>
                <a:gd name="T22" fmla="*/ 53 w 131"/>
                <a:gd name="T23" fmla="*/ 0 h 117"/>
                <a:gd name="T24" fmla="*/ 39 w 131"/>
                <a:gd name="T25" fmla="*/ 31 h 117"/>
                <a:gd name="T26" fmla="*/ 51 w 131"/>
                <a:gd name="T27" fmla="*/ 52 h 117"/>
                <a:gd name="T28" fmla="*/ 50 w 131"/>
                <a:gd name="T29" fmla="*/ 30 h 117"/>
                <a:gd name="T30" fmla="*/ 54 w 131"/>
                <a:gd name="T31" fmla="*/ 25 h 117"/>
                <a:gd name="T32" fmla="*/ 70 w 131"/>
                <a:gd name="T33" fmla="*/ 6 h 117"/>
                <a:gd name="T34" fmla="*/ 53 w 131"/>
                <a:gd name="T35" fmla="*/ 48 h 117"/>
                <a:gd name="T36" fmla="*/ 102 w 131"/>
                <a:gd name="T37" fmla="*/ 19 h 117"/>
                <a:gd name="T38" fmla="*/ 89 w 131"/>
                <a:gd name="T39" fmla="*/ 39 h 117"/>
                <a:gd name="T40" fmla="*/ 91 w 131"/>
                <a:gd name="T41" fmla="*/ 34 h 117"/>
                <a:gd name="T42" fmla="*/ 82 w 131"/>
                <a:gd name="T43" fmla="*/ 15 h 117"/>
                <a:gd name="T44" fmla="*/ 82 w 131"/>
                <a:gd name="T45" fmla="*/ 15 h 117"/>
                <a:gd name="T46" fmla="*/ 108 w 131"/>
                <a:gd name="T47" fmla="*/ 3 h 117"/>
                <a:gd name="T48" fmla="*/ 112 w 131"/>
                <a:gd name="T49" fmla="*/ 34 h 117"/>
                <a:gd name="T50" fmla="*/ 125 w 131"/>
                <a:gd name="T51" fmla="*/ 38 h 117"/>
                <a:gd name="T52" fmla="*/ 120 w 131"/>
                <a:gd name="T53" fmla="*/ 14 h 117"/>
                <a:gd name="T54" fmla="*/ 131 w 131"/>
                <a:gd name="T55" fmla="*/ 5 h 117"/>
                <a:gd name="T56" fmla="*/ 120 w 131"/>
                <a:gd name="T57" fmla="*/ 0 h 117"/>
                <a:gd name="T58" fmla="*/ 31 w 131"/>
                <a:gd name="T59" fmla="*/ 70 h 117"/>
                <a:gd name="T60" fmla="*/ 39 w 131"/>
                <a:gd name="T61" fmla="*/ 117 h 117"/>
                <a:gd name="T62" fmla="*/ 35 w 131"/>
                <a:gd name="T63" fmla="*/ 79 h 117"/>
                <a:gd name="T64" fmla="*/ 24 w 131"/>
                <a:gd name="T65" fmla="*/ 84 h 117"/>
                <a:gd name="T66" fmla="*/ 24 w 131"/>
                <a:gd name="T67" fmla="*/ 114 h 117"/>
                <a:gd name="T68" fmla="*/ 100 w 131"/>
                <a:gd name="T69" fmla="*/ 114 h 117"/>
                <a:gd name="T70" fmla="*/ 86 w 131"/>
                <a:gd name="T71" fmla="*/ 79 h 117"/>
                <a:gd name="T72" fmla="*/ 56 w 131"/>
                <a:gd name="T73" fmla="*/ 84 h 117"/>
                <a:gd name="T74" fmla="*/ 45 w 131"/>
                <a:gd name="T75" fmla="*/ 81 h 117"/>
                <a:gd name="T76" fmla="*/ 49 w 131"/>
                <a:gd name="T77" fmla="*/ 113 h 117"/>
                <a:gd name="T78" fmla="*/ 60 w 131"/>
                <a:gd name="T79" fmla="*/ 117 h 117"/>
                <a:gd name="T80" fmla="*/ 57 w 131"/>
                <a:gd name="T81" fmla="*/ 88 h 117"/>
                <a:gd name="T82" fmla="*/ 69 w 131"/>
                <a:gd name="T83" fmla="*/ 113 h 117"/>
                <a:gd name="T84" fmla="*/ 80 w 131"/>
                <a:gd name="T85" fmla="*/ 117 h 117"/>
                <a:gd name="T86" fmla="*/ 76 w 131"/>
                <a:gd name="T87" fmla="*/ 88 h 117"/>
                <a:gd name="T88" fmla="*/ 88 w 131"/>
                <a:gd name="T89" fmla="*/ 113 h 117"/>
                <a:gd name="T90" fmla="*/ 100 w 131"/>
                <a:gd name="T91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1" h="117">
                  <a:moveTo>
                    <a:pt x="53" y="3"/>
                  </a:moveTo>
                  <a:cubicBezTo>
                    <a:pt x="57" y="3"/>
                    <a:pt x="59" y="6"/>
                    <a:pt x="59" y="13"/>
                  </a:cubicBezTo>
                  <a:cubicBezTo>
                    <a:pt x="59" y="19"/>
                    <a:pt x="57" y="22"/>
                    <a:pt x="53" y="22"/>
                  </a:cubicBezTo>
                  <a:cubicBezTo>
                    <a:pt x="50" y="22"/>
                    <a:pt x="48" y="19"/>
                    <a:pt x="48" y="12"/>
                  </a:cubicBezTo>
                  <a:cubicBezTo>
                    <a:pt x="48" y="6"/>
                    <a:pt x="50" y="3"/>
                    <a:pt x="53" y="3"/>
                  </a:cubicBezTo>
                  <a:close/>
                  <a:moveTo>
                    <a:pt x="34" y="38"/>
                  </a:moveTo>
                  <a:cubicBezTo>
                    <a:pt x="34" y="35"/>
                    <a:pt x="34" y="35"/>
                    <a:pt x="34" y="35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4"/>
                    <a:pt x="27" y="0"/>
                    <a:pt x="21" y="0"/>
                  </a:cubicBezTo>
                  <a:cubicBezTo>
                    <a:pt x="18" y="0"/>
                    <a:pt x="16" y="1"/>
                    <a:pt x="11" y="5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4" y="7"/>
                    <a:pt x="16" y="6"/>
                    <a:pt x="19" y="6"/>
                  </a:cubicBezTo>
                  <a:cubicBezTo>
                    <a:pt x="22" y="6"/>
                    <a:pt x="23" y="8"/>
                    <a:pt x="23" y="12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34" y="38"/>
                    <a:pt x="34" y="38"/>
                    <a:pt x="34" y="38"/>
                  </a:cubicBezTo>
                  <a:close/>
                  <a:moveTo>
                    <a:pt x="70" y="6"/>
                  </a:moveTo>
                  <a:cubicBezTo>
                    <a:pt x="70" y="1"/>
                    <a:pt x="70" y="1"/>
                    <a:pt x="70" y="1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2" y="1"/>
                    <a:pt x="61" y="1"/>
                    <a:pt x="61" y="1"/>
                  </a:cubicBezTo>
                  <a:cubicBezTo>
                    <a:pt x="60" y="1"/>
                    <a:pt x="59" y="1"/>
                    <a:pt x="58" y="1"/>
                  </a:cubicBezTo>
                  <a:cubicBezTo>
                    <a:pt x="55" y="0"/>
                    <a:pt x="54" y="0"/>
                    <a:pt x="53" y="0"/>
                  </a:cubicBezTo>
                  <a:cubicBezTo>
                    <a:pt x="46" y="0"/>
                    <a:pt x="40" y="6"/>
                    <a:pt x="40" y="13"/>
                  </a:cubicBezTo>
                  <a:cubicBezTo>
                    <a:pt x="40" y="18"/>
                    <a:pt x="42" y="20"/>
                    <a:pt x="46" y="23"/>
                  </a:cubicBezTo>
                  <a:cubicBezTo>
                    <a:pt x="41" y="26"/>
                    <a:pt x="39" y="29"/>
                    <a:pt x="39" y="31"/>
                  </a:cubicBezTo>
                  <a:cubicBezTo>
                    <a:pt x="39" y="34"/>
                    <a:pt x="41" y="35"/>
                    <a:pt x="44" y="36"/>
                  </a:cubicBezTo>
                  <a:cubicBezTo>
                    <a:pt x="39" y="39"/>
                    <a:pt x="38" y="41"/>
                    <a:pt x="38" y="44"/>
                  </a:cubicBezTo>
                  <a:cubicBezTo>
                    <a:pt x="38" y="49"/>
                    <a:pt x="43" y="52"/>
                    <a:pt x="51" y="52"/>
                  </a:cubicBezTo>
                  <a:cubicBezTo>
                    <a:pt x="63" y="52"/>
                    <a:pt x="70" y="47"/>
                    <a:pt x="70" y="39"/>
                  </a:cubicBezTo>
                  <a:cubicBezTo>
                    <a:pt x="70" y="33"/>
                    <a:pt x="66" y="30"/>
                    <a:pt x="59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48" y="29"/>
                    <a:pt x="47" y="29"/>
                    <a:pt x="47" y="28"/>
                  </a:cubicBezTo>
                  <a:cubicBezTo>
                    <a:pt x="47" y="27"/>
                    <a:pt x="48" y="26"/>
                    <a:pt x="50" y="25"/>
                  </a:cubicBezTo>
                  <a:cubicBezTo>
                    <a:pt x="51" y="25"/>
                    <a:pt x="52" y="25"/>
                    <a:pt x="54" y="25"/>
                  </a:cubicBezTo>
                  <a:cubicBezTo>
                    <a:pt x="61" y="25"/>
                    <a:pt x="67" y="20"/>
                    <a:pt x="67" y="13"/>
                  </a:cubicBezTo>
                  <a:cubicBezTo>
                    <a:pt x="67" y="10"/>
                    <a:pt x="66" y="8"/>
                    <a:pt x="64" y="6"/>
                  </a:cubicBezTo>
                  <a:cubicBezTo>
                    <a:pt x="70" y="6"/>
                    <a:pt x="70" y="6"/>
                    <a:pt x="70" y="6"/>
                  </a:cubicBezTo>
                  <a:close/>
                  <a:moveTo>
                    <a:pt x="48" y="37"/>
                  </a:moveTo>
                  <a:cubicBezTo>
                    <a:pt x="63" y="38"/>
                    <a:pt x="64" y="38"/>
                    <a:pt x="64" y="42"/>
                  </a:cubicBezTo>
                  <a:cubicBezTo>
                    <a:pt x="64" y="45"/>
                    <a:pt x="60" y="48"/>
                    <a:pt x="53" y="48"/>
                  </a:cubicBezTo>
                  <a:cubicBezTo>
                    <a:pt x="48" y="48"/>
                    <a:pt x="45" y="46"/>
                    <a:pt x="45" y="43"/>
                  </a:cubicBezTo>
                  <a:cubicBezTo>
                    <a:pt x="45" y="40"/>
                    <a:pt x="46" y="39"/>
                    <a:pt x="48" y="37"/>
                  </a:cubicBezTo>
                  <a:close/>
                  <a:moveTo>
                    <a:pt x="102" y="19"/>
                  </a:moveTo>
                  <a:cubicBezTo>
                    <a:pt x="102" y="6"/>
                    <a:pt x="97" y="0"/>
                    <a:pt x="89" y="0"/>
                  </a:cubicBezTo>
                  <a:cubicBezTo>
                    <a:pt x="80" y="0"/>
                    <a:pt x="75" y="8"/>
                    <a:pt x="75" y="21"/>
                  </a:cubicBezTo>
                  <a:cubicBezTo>
                    <a:pt x="75" y="33"/>
                    <a:pt x="80" y="39"/>
                    <a:pt x="89" y="39"/>
                  </a:cubicBezTo>
                  <a:cubicBezTo>
                    <a:pt x="95" y="39"/>
                    <a:pt x="98" y="37"/>
                    <a:pt x="102" y="30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6" y="32"/>
                    <a:pt x="94" y="34"/>
                    <a:pt x="91" y="34"/>
                  </a:cubicBezTo>
                  <a:cubicBezTo>
                    <a:pt x="86" y="34"/>
                    <a:pt x="83" y="29"/>
                    <a:pt x="82" y="19"/>
                  </a:cubicBezTo>
                  <a:cubicBezTo>
                    <a:pt x="102" y="19"/>
                    <a:pt x="102" y="19"/>
                    <a:pt x="102" y="19"/>
                  </a:cubicBezTo>
                  <a:close/>
                  <a:moveTo>
                    <a:pt x="82" y="15"/>
                  </a:moveTo>
                  <a:cubicBezTo>
                    <a:pt x="83" y="7"/>
                    <a:pt x="85" y="4"/>
                    <a:pt x="88" y="4"/>
                  </a:cubicBezTo>
                  <a:cubicBezTo>
                    <a:pt x="92" y="4"/>
                    <a:pt x="94" y="7"/>
                    <a:pt x="94" y="15"/>
                  </a:cubicBezTo>
                  <a:cubicBezTo>
                    <a:pt x="82" y="15"/>
                    <a:pt x="82" y="15"/>
                    <a:pt x="82" y="15"/>
                  </a:cubicBezTo>
                  <a:close/>
                  <a:moveTo>
                    <a:pt x="120" y="0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108" y="3"/>
                    <a:pt x="108" y="3"/>
                    <a:pt x="108" y="3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2" y="34"/>
                    <a:pt x="112" y="34"/>
                    <a:pt x="112" y="34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5" y="35"/>
                    <a:pt x="125" y="35"/>
                    <a:pt x="125" y="35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14"/>
                    <a:pt x="120" y="14"/>
                    <a:pt x="120" y="14"/>
                  </a:cubicBezTo>
                  <a:cubicBezTo>
                    <a:pt x="120" y="12"/>
                    <a:pt x="122" y="9"/>
                    <a:pt x="124" y="8"/>
                  </a:cubicBezTo>
                  <a:cubicBezTo>
                    <a:pt x="128" y="10"/>
                    <a:pt x="128" y="10"/>
                    <a:pt x="128" y="10"/>
                  </a:cubicBezTo>
                  <a:cubicBezTo>
                    <a:pt x="130" y="8"/>
                    <a:pt x="131" y="7"/>
                    <a:pt x="131" y="5"/>
                  </a:cubicBezTo>
                  <a:cubicBezTo>
                    <a:pt x="131" y="3"/>
                    <a:pt x="130" y="1"/>
                    <a:pt x="127" y="1"/>
                  </a:cubicBezTo>
                  <a:cubicBezTo>
                    <a:pt x="124" y="1"/>
                    <a:pt x="123" y="2"/>
                    <a:pt x="120" y="8"/>
                  </a:cubicBezTo>
                  <a:cubicBezTo>
                    <a:pt x="120" y="0"/>
                    <a:pt x="120" y="0"/>
                    <a:pt x="120" y="0"/>
                  </a:cubicBezTo>
                  <a:close/>
                  <a:moveTo>
                    <a:pt x="31" y="60"/>
                  </a:moveTo>
                  <a:cubicBezTo>
                    <a:pt x="28" y="60"/>
                    <a:pt x="26" y="63"/>
                    <a:pt x="26" y="65"/>
                  </a:cubicBezTo>
                  <a:cubicBezTo>
                    <a:pt x="26" y="68"/>
                    <a:pt x="28" y="70"/>
                    <a:pt x="31" y="70"/>
                  </a:cubicBezTo>
                  <a:cubicBezTo>
                    <a:pt x="34" y="70"/>
                    <a:pt x="36" y="68"/>
                    <a:pt x="36" y="65"/>
                  </a:cubicBezTo>
                  <a:cubicBezTo>
                    <a:pt x="36" y="63"/>
                    <a:pt x="34" y="60"/>
                    <a:pt x="31" y="60"/>
                  </a:cubicBezTo>
                  <a:close/>
                  <a:moveTo>
                    <a:pt x="39" y="117"/>
                  </a:moveTo>
                  <a:cubicBezTo>
                    <a:pt x="39" y="114"/>
                    <a:pt x="39" y="114"/>
                    <a:pt x="39" y="114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24" y="82"/>
                    <a:pt x="24" y="82"/>
                    <a:pt x="24" y="82"/>
                  </a:cubicBezTo>
                  <a:cubicBezTo>
                    <a:pt x="24" y="84"/>
                    <a:pt x="24" y="84"/>
                    <a:pt x="24" y="84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24" y="114"/>
                    <a:pt x="24" y="114"/>
                    <a:pt x="24" y="114"/>
                  </a:cubicBezTo>
                  <a:cubicBezTo>
                    <a:pt x="24" y="117"/>
                    <a:pt x="24" y="117"/>
                    <a:pt x="24" y="117"/>
                  </a:cubicBezTo>
                  <a:cubicBezTo>
                    <a:pt x="100" y="117"/>
                    <a:pt x="100" y="117"/>
                    <a:pt x="100" y="117"/>
                  </a:cubicBezTo>
                  <a:cubicBezTo>
                    <a:pt x="100" y="114"/>
                    <a:pt x="100" y="114"/>
                    <a:pt x="100" y="114"/>
                  </a:cubicBezTo>
                  <a:cubicBezTo>
                    <a:pt x="95" y="113"/>
                    <a:pt x="95" y="113"/>
                    <a:pt x="95" y="113"/>
                  </a:cubicBezTo>
                  <a:cubicBezTo>
                    <a:pt x="95" y="90"/>
                    <a:pt x="95" y="90"/>
                    <a:pt x="95" y="90"/>
                  </a:cubicBezTo>
                  <a:cubicBezTo>
                    <a:pt x="95" y="82"/>
                    <a:pt x="93" y="79"/>
                    <a:pt x="86" y="79"/>
                  </a:cubicBezTo>
                  <a:cubicBezTo>
                    <a:pt x="82" y="79"/>
                    <a:pt x="79" y="81"/>
                    <a:pt x="75" y="84"/>
                  </a:cubicBezTo>
                  <a:cubicBezTo>
                    <a:pt x="73" y="81"/>
                    <a:pt x="71" y="79"/>
                    <a:pt x="67" y="79"/>
                  </a:cubicBezTo>
                  <a:cubicBezTo>
                    <a:pt x="63" y="79"/>
                    <a:pt x="60" y="81"/>
                    <a:pt x="56" y="84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113"/>
                    <a:pt x="49" y="113"/>
                    <a:pt x="49" y="113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45" y="117"/>
                    <a:pt x="45" y="117"/>
                    <a:pt x="45" y="117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57" y="113"/>
                    <a:pt x="57" y="113"/>
                    <a:pt x="57" y="113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9" y="85"/>
                    <a:pt x="61" y="84"/>
                    <a:pt x="64" y="84"/>
                  </a:cubicBezTo>
                  <a:cubicBezTo>
                    <a:pt x="67" y="84"/>
                    <a:pt x="69" y="87"/>
                    <a:pt x="69" y="91"/>
                  </a:cubicBezTo>
                  <a:cubicBezTo>
                    <a:pt x="69" y="113"/>
                    <a:pt x="69" y="113"/>
                    <a:pt x="69" y="113"/>
                  </a:cubicBezTo>
                  <a:cubicBezTo>
                    <a:pt x="64" y="114"/>
                    <a:pt x="64" y="114"/>
                    <a:pt x="64" y="114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80" y="117"/>
                    <a:pt x="80" y="117"/>
                    <a:pt x="80" y="117"/>
                  </a:cubicBezTo>
                  <a:cubicBezTo>
                    <a:pt x="80" y="114"/>
                    <a:pt x="80" y="114"/>
                    <a:pt x="80" y="114"/>
                  </a:cubicBezTo>
                  <a:cubicBezTo>
                    <a:pt x="76" y="113"/>
                    <a:pt x="76" y="113"/>
                    <a:pt x="76" y="113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9" y="85"/>
                    <a:pt x="81" y="84"/>
                    <a:pt x="83" y="84"/>
                  </a:cubicBezTo>
                  <a:cubicBezTo>
                    <a:pt x="86" y="84"/>
                    <a:pt x="88" y="86"/>
                    <a:pt x="88" y="92"/>
                  </a:cubicBezTo>
                  <a:cubicBezTo>
                    <a:pt x="88" y="113"/>
                    <a:pt x="88" y="113"/>
                    <a:pt x="88" y="113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7"/>
                    <a:pt x="84" y="117"/>
                    <a:pt x="84" y="117"/>
                  </a:cubicBezTo>
                  <a:cubicBezTo>
                    <a:pt x="100" y="117"/>
                    <a:pt x="100" y="117"/>
                    <a:pt x="100" y="117"/>
                  </a:cubicBezTo>
                  <a:cubicBezTo>
                    <a:pt x="39" y="117"/>
                    <a:pt x="39" y="117"/>
                    <a:pt x="39" y="1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12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7" name="Slide Number"/>
          <p:cNvSpPr txBox="1">
            <a:spLocks/>
          </p:cNvSpPr>
          <p:nvPr/>
        </p:nvSpPr>
        <p:spPr bwMode="auto">
          <a:xfrm>
            <a:off x="8802412" y="6513631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01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defTabSz="914012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21426" y="2937165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5058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012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81408" y="542633"/>
            <a:ext cx="878776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auto">
          <a:xfrm>
            <a:off x="175057" y="6193943"/>
            <a:ext cx="8787763" cy="364756"/>
            <a:chOff x="171451" y="6180354"/>
            <a:chExt cx="8612313" cy="35749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71451" y="6180354"/>
              <a:ext cx="861231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5653" indent="-10565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71451" y="6383961"/>
              <a:ext cx="711989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17899" indent="-617899" defTabSz="902742" fontAlgn="base">
                <a:spcBef>
                  <a:spcPct val="0"/>
                </a:spcBef>
                <a:spcAft>
                  <a:spcPct val="0"/>
                </a:spcAft>
                <a:tabLst>
                  <a:tab pos="617899" algn="l"/>
                </a:tabLst>
              </a:pPr>
              <a:r>
                <a:rPr lang="en-US" sz="1000" dirty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21426" y="2339194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01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01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8" name="LegendBoxes" hidden="1"/>
          <p:cNvGrpSpPr>
            <a:grpSpLocks/>
          </p:cNvGrpSpPr>
          <p:nvPr/>
        </p:nvGrpSpPr>
        <p:grpSpPr bwMode="auto">
          <a:xfrm>
            <a:off x="8194372" y="275426"/>
            <a:ext cx="774702" cy="1001714"/>
            <a:chOff x="4936" y="176"/>
            <a:chExt cx="488" cy="631"/>
          </a:xfrm>
        </p:grpSpPr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784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30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012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784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32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012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784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34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012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35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784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36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012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</p:grpSp>
      <p:grpSp>
        <p:nvGrpSpPr>
          <p:cNvPr id="37" name="LegendLines" hidden="1"/>
          <p:cNvGrpSpPr>
            <a:grpSpLocks/>
          </p:cNvGrpSpPr>
          <p:nvPr/>
        </p:nvGrpSpPr>
        <p:grpSpPr bwMode="auto">
          <a:xfrm>
            <a:off x="7886494" y="275426"/>
            <a:ext cx="1082677" cy="735014"/>
            <a:chOff x="4750" y="176"/>
            <a:chExt cx="682" cy="463"/>
          </a:xfrm>
        </p:grpSpPr>
        <p:sp>
          <p:nvSpPr>
            <p:cNvPr id="38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012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39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012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40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012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784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784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784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</p:grpSp>
      <p:grpSp>
        <p:nvGrpSpPr>
          <p:cNvPr id="44" name="McKSticker" hidden="1"/>
          <p:cNvGrpSpPr/>
          <p:nvPr/>
        </p:nvGrpSpPr>
        <p:grpSpPr bwMode="auto">
          <a:xfrm>
            <a:off x="7880435" y="275426"/>
            <a:ext cx="1088630" cy="216680"/>
            <a:chOff x="7652146" y="285750"/>
            <a:chExt cx="1088629" cy="216680"/>
          </a:xfrm>
        </p:grpSpPr>
        <p:sp>
          <p:nvSpPr>
            <p:cNvPr id="45" name="StickerRectangle"/>
            <p:cNvSpPr>
              <a:spLocks noChangeArrowheads="1"/>
            </p:cNvSpPr>
            <p:nvPr/>
          </p:nvSpPr>
          <p:spPr bwMode="auto">
            <a:xfrm>
              <a:off x="7652146" y="285750"/>
              <a:ext cx="1088629" cy="21668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84784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808080"/>
                  </a:solidFill>
                  <a:cs typeface="Calibri" pitchFamily="34" charset="0"/>
                </a:rPr>
                <a:t>PRELIMINARY</a:t>
              </a:r>
            </a:p>
          </p:txBody>
        </p:sp>
        <p:cxnSp>
          <p:nvCxnSpPr>
            <p:cNvPr id="46" name="AutoShape 31"/>
            <p:cNvCxnSpPr>
              <a:cxnSpLocks noChangeShapeType="1"/>
              <a:stCxn id="45" idx="2"/>
              <a:endCxn id="45" idx="4"/>
            </p:cNvCxnSpPr>
            <p:nvPr/>
          </p:nvCxnSpPr>
          <p:spPr bwMode="auto">
            <a:xfrm>
              <a:off x="7652146" y="285750"/>
              <a:ext cx="0" cy="21668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7" name="AutoShape 32"/>
            <p:cNvCxnSpPr>
              <a:cxnSpLocks noChangeShapeType="1"/>
              <a:stCxn id="45" idx="4"/>
              <a:endCxn id="45" idx="6"/>
            </p:cNvCxnSpPr>
            <p:nvPr/>
          </p:nvCxnSpPr>
          <p:spPr bwMode="auto">
            <a:xfrm>
              <a:off x="7652146" y="502430"/>
              <a:ext cx="108862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8" name="LegendMoons" hidden="1"/>
          <p:cNvGrpSpPr/>
          <p:nvPr/>
        </p:nvGrpSpPr>
        <p:grpSpPr bwMode="auto">
          <a:xfrm>
            <a:off x="8128242" y="275442"/>
            <a:ext cx="840815" cy="1306516"/>
            <a:chOff x="7875175" y="286625"/>
            <a:chExt cx="840815" cy="1306516"/>
          </a:xfrm>
        </p:grpSpPr>
        <p:grpSp>
          <p:nvGrpSpPr>
            <p:cNvPr id="49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7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0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8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0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  <p:grpSp>
          <p:nvGrpSpPr>
            <p:cNvPr id="50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0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0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  <p:grpSp>
          <p:nvGrpSpPr>
            <p:cNvPr id="51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63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0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4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0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  <p:sp>
          <p:nvSpPr>
            <p:cNvPr id="52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784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53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784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54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784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55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784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56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784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grpSp>
          <p:nvGrpSpPr>
            <p:cNvPr id="57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0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0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  <p:grpSp>
          <p:nvGrpSpPr>
            <p:cNvPr id="58" name="MoonLegend1"/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0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0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</p:grpSp>
      <p:sp>
        <p:nvSpPr>
          <p:cNvPr id="69" name="Rectangle 68"/>
          <p:cNvSpPr/>
          <p:nvPr/>
        </p:nvSpPr>
        <p:spPr>
          <a:xfrm>
            <a:off x="174946" y="6546014"/>
            <a:ext cx="6841963" cy="2198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defTabSz="914012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PRIVILEGED AND CONFIDENTIAL – ATTORNEY WORK PRODUCT – A/C PRIVILEGED</a:t>
            </a:r>
          </a:p>
          <a:p>
            <a:pPr defTabSz="914012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For integration preparation purposes only. All proposals will be subject to appropriate consultation where applicable with employees and employee representative bodies.</a:t>
            </a:r>
          </a:p>
        </p:txBody>
      </p:sp>
    </p:spTree>
    <p:extLst>
      <p:ext uri="{BB962C8B-B14F-4D97-AF65-F5344CB8AC3E}">
        <p14:creationId xmlns:p14="http://schemas.microsoft.com/office/powerpoint/2010/main" val="434026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3" r:id="rId6"/>
    <p:sldLayoutId id="2147483695" r:id="rId7"/>
    <p:sldLayoutId id="2147483696" r:id="rId8"/>
    <p:sldLayoutId id="2147483697" r:id="rId9"/>
  </p:sldLayoutIdLst>
  <p:hf sldNum="0" hdr="0" ftr="0"/>
  <p:txStyles>
    <p:titleStyle>
      <a:lvl1pPr algn="l" defTabSz="902742" rtl="0" eaLnBrk="1" fontAlgn="base" hangingPunct="1">
        <a:spcBef>
          <a:spcPct val="0"/>
        </a:spcBef>
        <a:spcAft>
          <a:spcPct val="0"/>
        </a:spcAft>
        <a:tabLst>
          <a:tab pos="27210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274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274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274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274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0932" algn="l" defTabSz="90274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1944" algn="l" defTabSz="90274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82926" algn="l" defTabSz="90274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43898" algn="l" defTabSz="90274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274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5275" indent="-193677" algn="l" defTabSz="9027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 baseline="0">
          <a:solidFill>
            <a:schemeClr val="tx1"/>
          </a:solidFill>
          <a:latin typeface="+mn-lt"/>
        </a:defRPr>
      </a:lvl2pPr>
      <a:lvl3pPr marL="460932" indent="-264103" algn="l" defTabSz="9027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9437" indent="-156866" algn="l" defTabSz="9027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▫"/>
        <a:defRPr sz="1600" baseline="0">
          <a:solidFill>
            <a:schemeClr val="tx1"/>
          </a:solidFill>
          <a:latin typeface="+mn-lt"/>
        </a:defRPr>
      </a:lvl4pPr>
      <a:lvl5pPr marL="756001" indent="-131250" algn="l" defTabSz="9027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56001" indent="-131250" algn="l" defTabSz="9027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56001" indent="-131250" algn="l" defTabSz="9027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56001" indent="-131250" algn="l" defTabSz="9027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56001" indent="-131250" algn="l" defTabSz="9027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19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0932" algn="l" defTabSz="9219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1944" algn="l" defTabSz="9219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2926" algn="l" defTabSz="9219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3898" algn="l" defTabSz="9219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4878" algn="l" defTabSz="9219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65852" algn="l" defTabSz="9219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26828" algn="l" defTabSz="9219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87803" algn="l" defTabSz="9219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5703557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/>
          <p:cNvSpPr/>
          <p:nvPr/>
        </p:nvSpPr>
        <p:spPr bwMode="ltGray">
          <a:xfrm>
            <a:off x="3239" y="6402452"/>
            <a:ext cx="9140760" cy="379385"/>
          </a:xfrm>
          <a:prstGeom prst="rect">
            <a:avLst/>
          </a:prstGeom>
          <a:solidFill>
            <a:srgbClr val="285888"/>
          </a:solidFill>
          <a:ln w="9525">
            <a:solidFill>
              <a:srgbClr val="28588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198" tIns="46106" rIns="92198" bIns="4610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59973"/>
            <a:endParaRPr lang="en-US" sz="1000" b="1" kern="0" dirty="0">
              <a:solidFill>
                <a:srgbClr val="FFFFFF"/>
              </a:solidFill>
              <a:latin typeface="BISansCond"/>
              <a:cs typeface="Arial" pitchFamily="34" charset="0"/>
            </a:endParaRPr>
          </a:p>
        </p:txBody>
      </p:sp>
      <p:sp>
        <p:nvSpPr>
          <p:cNvPr id="71" name="Rectangle 70"/>
          <p:cNvSpPr/>
          <p:nvPr/>
        </p:nvSpPr>
        <p:spPr bwMode="ltGray">
          <a:xfrm>
            <a:off x="3239" y="6781941"/>
            <a:ext cx="9140760" cy="74551"/>
          </a:xfrm>
          <a:prstGeom prst="rect">
            <a:avLst/>
          </a:prstGeom>
          <a:solidFill>
            <a:srgbClr val="003366"/>
          </a:solidFill>
          <a:ln w="9525">
            <a:solidFill>
              <a:srgbClr val="00336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198" tIns="46106" rIns="92198" bIns="46106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59973"/>
            <a:endParaRPr lang="en-US" sz="1000" b="1" kern="0" dirty="0">
              <a:solidFill>
                <a:srgbClr val="FFFFFF"/>
              </a:solidFill>
              <a:latin typeface="BISansCond"/>
              <a:cs typeface="Arial" pitchFamily="34" charset="0"/>
            </a:endParaRPr>
          </a:p>
        </p:txBody>
      </p:sp>
      <p:grpSp>
        <p:nvGrpSpPr>
          <p:cNvPr id="72" name="Group 71"/>
          <p:cNvGrpSpPr/>
          <p:nvPr/>
        </p:nvGrpSpPr>
        <p:grpSpPr bwMode="auto">
          <a:xfrm>
            <a:off x="7607998" y="6445567"/>
            <a:ext cx="1020082" cy="308657"/>
            <a:chOff x="2103438" y="-793750"/>
            <a:chExt cx="1893887" cy="573087"/>
          </a:xfrm>
        </p:grpSpPr>
        <p:sp>
          <p:nvSpPr>
            <p:cNvPr id="73" name="Freeform 7"/>
            <p:cNvSpPr>
              <a:spLocks noEditPoints="1"/>
            </p:cNvSpPr>
            <p:nvPr/>
          </p:nvSpPr>
          <p:spPr bwMode="auto">
            <a:xfrm>
              <a:off x="2755900" y="-768350"/>
              <a:ext cx="401637" cy="547687"/>
            </a:xfrm>
            <a:custGeom>
              <a:avLst/>
              <a:gdLst>
                <a:gd name="T0" fmla="*/ 13 w 107"/>
                <a:gd name="T1" fmla="*/ 4 h 146"/>
                <a:gd name="T2" fmla="*/ 26 w 107"/>
                <a:gd name="T3" fmla="*/ 13 h 146"/>
                <a:gd name="T4" fmla="*/ 13 w 107"/>
                <a:gd name="T5" fmla="*/ 24 h 146"/>
                <a:gd name="T6" fmla="*/ 0 w 107"/>
                <a:gd name="T7" fmla="*/ 1 h 146"/>
                <a:gd name="T8" fmla="*/ 5 w 107"/>
                <a:gd name="T9" fmla="*/ 5 h 146"/>
                <a:gd name="T10" fmla="*/ 0 w 107"/>
                <a:gd name="T11" fmla="*/ 50 h 146"/>
                <a:gd name="T12" fmla="*/ 9 w 107"/>
                <a:gd name="T13" fmla="*/ 53 h 146"/>
                <a:gd name="T14" fmla="*/ 19 w 107"/>
                <a:gd name="T15" fmla="*/ 54 h 146"/>
                <a:gd name="T16" fmla="*/ 38 w 107"/>
                <a:gd name="T17" fmla="*/ 40 h 146"/>
                <a:gd name="T18" fmla="*/ 35 w 107"/>
                <a:gd name="T19" fmla="*/ 13 h 146"/>
                <a:gd name="T20" fmla="*/ 15 w 107"/>
                <a:gd name="T21" fmla="*/ 0 h 146"/>
                <a:gd name="T22" fmla="*/ 13 w 107"/>
                <a:gd name="T23" fmla="*/ 28 h 146"/>
                <a:gd name="T24" fmla="*/ 29 w 107"/>
                <a:gd name="T25" fmla="*/ 39 h 146"/>
                <a:gd name="T26" fmla="*/ 13 w 107"/>
                <a:gd name="T27" fmla="*/ 49 h 146"/>
                <a:gd name="T28" fmla="*/ 59 w 107"/>
                <a:gd name="T29" fmla="*/ 15 h 146"/>
                <a:gd name="T30" fmla="*/ 59 w 107"/>
                <a:gd name="T31" fmla="*/ 54 h 146"/>
                <a:gd name="T32" fmla="*/ 59 w 107"/>
                <a:gd name="T33" fmla="*/ 15 h 146"/>
                <a:gd name="T34" fmla="*/ 66 w 107"/>
                <a:gd name="T35" fmla="*/ 33 h 146"/>
                <a:gd name="T36" fmla="*/ 52 w 107"/>
                <a:gd name="T37" fmla="*/ 35 h 146"/>
                <a:gd name="T38" fmla="*/ 107 w 107"/>
                <a:gd name="T39" fmla="*/ 34 h 146"/>
                <a:gd name="T40" fmla="*/ 80 w 107"/>
                <a:gd name="T41" fmla="*/ 36 h 146"/>
                <a:gd name="T42" fmla="*/ 107 w 107"/>
                <a:gd name="T43" fmla="*/ 45 h 146"/>
                <a:gd name="T44" fmla="*/ 96 w 107"/>
                <a:gd name="T45" fmla="*/ 49 h 146"/>
                <a:gd name="T46" fmla="*/ 107 w 107"/>
                <a:gd name="T47" fmla="*/ 34 h 146"/>
                <a:gd name="T48" fmla="*/ 94 w 107"/>
                <a:gd name="T49" fmla="*/ 19 h 146"/>
                <a:gd name="T50" fmla="*/ 87 w 107"/>
                <a:gd name="T51" fmla="*/ 30 h 146"/>
                <a:gd name="T52" fmla="*/ 17 w 107"/>
                <a:gd name="T53" fmla="*/ 129 h 146"/>
                <a:gd name="T54" fmla="*/ 13 w 107"/>
                <a:gd name="T55" fmla="*/ 83 h 146"/>
                <a:gd name="T56" fmla="*/ 18 w 107"/>
                <a:gd name="T57" fmla="*/ 79 h 146"/>
                <a:gd name="T58" fmla="*/ 0 w 107"/>
                <a:gd name="T59" fmla="*/ 82 h 146"/>
                <a:gd name="T60" fmla="*/ 5 w 107"/>
                <a:gd name="T61" fmla="*/ 128 h 146"/>
                <a:gd name="T62" fmla="*/ 0 w 107"/>
                <a:gd name="T63" fmla="*/ 132 h 146"/>
                <a:gd name="T64" fmla="*/ 57 w 107"/>
                <a:gd name="T65" fmla="*/ 132 h 146"/>
                <a:gd name="T66" fmla="*/ 53 w 107"/>
                <a:gd name="T67" fmla="*/ 128 h 146"/>
                <a:gd name="T68" fmla="*/ 44 w 107"/>
                <a:gd name="T69" fmla="*/ 94 h 146"/>
                <a:gd name="T70" fmla="*/ 34 w 107"/>
                <a:gd name="T71" fmla="*/ 94 h 146"/>
                <a:gd name="T72" fmla="*/ 23 w 107"/>
                <a:gd name="T73" fmla="*/ 96 h 146"/>
                <a:gd name="T74" fmla="*/ 27 w 107"/>
                <a:gd name="T75" fmla="*/ 100 h 146"/>
                <a:gd name="T76" fmla="*/ 23 w 107"/>
                <a:gd name="T77" fmla="*/ 129 h 146"/>
                <a:gd name="T78" fmla="*/ 38 w 107"/>
                <a:gd name="T79" fmla="*/ 132 h 146"/>
                <a:gd name="T80" fmla="*/ 34 w 107"/>
                <a:gd name="T81" fmla="*/ 128 h 146"/>
                <a:gd name="T82" fmla="*/ 42 w 107"/>
                <a:gd name="T83" fmla="*/ 99 h 146"/>
                <a:gd name="T84" fmla="*/ 46 w 107"/>
                <a:gd name="T85" fmla="*/ 128 h 146"/>
                <a:gd name="T86" fmla="*/ 42 w 107"/>
                <a:gd name="T87" fmla="*/ 132 h 146"/>
                <a:gd name="T88" fmla="*/ 93 w 107"/>
                <a:gd name="T89" fmla="*/ 99 h 146"/>
                <a:gd name="T90" fmla="*/ 87 w 107"/>
                <a:gd name="T91" fmla="*/ 95 h 146"/>
                <a:gd name="T92" fmla="*/ 84 w 107"/>
                <a:gd name="T93" fmla="*/ 95 h 146"/>
                <a:gd name="T94" fmla="*/ 76 w 107"/>
                <a:gd name="T95" fmla="*/ 93 h 146"/>
                <a:gd name="T96" fmla="*/ 70 w 107"/>
                <a:gd name="T97" fmla="*/ 117 h 146"/>
                <a:gd name="T98" fmla="*/ 67 w 107"/>
                <a:gd name="T99" fmla="*/ 130 h 146"/>
                <a:gd name="T100" fmla="*/ 75 w 107"/>
                <a:gd name="T101" fmla="*/ 146 h 146"/>
                <a:gd name="T102" fmla="*/ 82 w 107"/>
                <a:gd name="T103" fmla="*/ 124 h 146"/>
                <a:gd name="T104" fmla="*/ 70 w 107"/>
                <a:gd name="T105" fmla="*/ 122 h 146"/>
                <a:gd name="T106" fmla="*/ 77 w 107"/>
                <a:gd name="T107" fmla="*/ 119 h 146"/>
                <a:gd name="T108" fmla="*/ 87 w 107"/>
                <a:gd name="T109" fmla="*/ 99 h 146"/>
                <a:gd name="T110" fmla="*/ 76 w 107"/>
                <a:gd name="T111" fmla="*/ 97 h 146"/>
                <a:gd name="T112" fmla="*/ 77 w 107"/>
                <a:gd name="T113" fmla="*/ 115 h 146"/>
                <a:gd name="T114" fmla="*/ 76 w 107"/>
                <a:gd name="T115" fmla="*/ 97 h 146"/>
                <a:gd name="T116" fmla="*/ 88 w 107"/>
                <a:gd name="T117" fmla="*/ 135 h 146"/>
                <a:gd name="T118" fmla="*/ 68 w 107"/>
                <a:gd name="T119" fmla="*/ 136 h 146"/>
                <a:gd name="T120" fmla="*/ 74 w 107"/>
                <a:gd name="T121" fmla="*/ 131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7" h="146">
                  <a:moveTo>
                    <a:pt x="13" y="24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15" y="4"/>
                    <a:pt x="16" y="3"/>
                    <a:pt x="17" y="3"/>
                  </a:cubicBezTo>
                  <a:cubicBezTo>
                    <a:pt x="23" y="3"/>
                    <a:pt x="26" y="7"/>
                    <a:pt x="26" y="13"/>
                  </a:cubicBezTo>
                  <a:cubicBezTo>
                    <a:pt x="26" y="21"/>
                    <a:pt x="23" y="24"/>
                    <a:pt x="16" y="24"/>
                  </a:cubicBezTo>
                  <a:cubicBezTo>
                    <a:pt x="13" y="24"/>
                    <a:pt x="13" y="24"/>
                    <a:pt x="13" y="24"/>
                  </a:cubicBezTo>
                  <a:close/>
                  <a:moveTo>
                    <a:pt x="9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10" y="53"/>
                    <a:pt x="12" y="53"/>
                    <a:pt x="15" y="54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5" y="54"/>
                    <a:pt x="27" y="53"/>
                    <a:pt x="30" y="52"/>
                  </a:cubicBezTo>
                  <a:cubicBezTo>
                    <a:pt x="35" y="50"/>
                    <a:pt x="38" y="45"/>
                    <a:pt x="38" y="40"/>
                  </a:cubicBezTo>
                  <a:cubicBezTo>
                    <a:pt x="38" y="32"/>
                    <a:pt x="34" y="27"/>
                    <a:pt x="26" y="25"/>
                  </a:cubicBezTo>
                  <a:cubicBezTo>
                    <a:pt x="32" y="22"/>
                    <a:pt x="35" y="18"/>
                    <a:pt x="35" y="13"/>
                  </a:cubicBezTo>
                  <a:cubicBezTo>
                    <a:pt x="35" y="5"/>
                    <a:pt x="29" y="0"/>
                    <a:pt x="20" y="0"/>
                  </a:cubicBezTo>
                  <a:cubicBezTo>
                    <a:pt x="20" y="0"/>
                    <a:pt x="18" y="0"/>
                    <a:pt x="15" y="0"/>
                  </a:cubicBezTo>
                  <a:cubicBezTo>
                    <a:pt x="9" y="1"/>
                    <a:pt x="9" y="1"/>
                    <a:pt x="9" y="1"/>
                  </a:cubicBezTo>
                  <a:close/>
                  <a:moveTo>
                    <a:pt x="13" y="28"/>
                  </a:moveTo>
                  <a:cubicBezTo>
                    <a:pt x="16" y="28"/>
                    <a:pt x="16" y="28"/>
                    <a:pt x="16" y="28"/>
                  </a:cubicBezTo>
                  <a:cubicBezTo>
                    <a:pt x="25" y="28"/>
                    <a:pt x="29" y="31"/>
                    <a:pt x="29" y="39"/>
                  </a:cubicBezTo>
                  <a:cubicBezTo>
                    <a:pt x="29" y="46"/>
                    <a:pt x="25" y="50"/>
                    <a:pt x="17" y="50"/>
                  </a:cubicBezTo>
                  <a:cubicBezTo>
                    <a:pt x="15" y="50"/>
                    <a:pt x="14" y="50"/>
                    <a:pt x="13" y="49"/>
                  </a:cubicBezTo>
                  <a:cubicBezTo>
                    <a:pt x="13" y="28"/>
                    <a:pt x="13" y="28"/>
                    <a:pt x="13" y="28"/>
                  </a:cubicBezTo>
                  <a:close/>
                  <a:moveTo>
                    <a:pt x="59" y="15"/>
                  </a:moveTo>
                  <a:cubicBezTo>
                    <a:pt x="50" y="15"/>
                    <a:pt x="44" y="23"/>
                    <a:pt x="44" y="35"/>
                  </a:cubicBezTo>
                  <a:cubicBezTo>
                    <a:pt x="44" y="46"/>
                    <a:pt x="50" y="54"/>
                    <a:pt x="59" y="54"/>
                  </a:cubicBezTo>
                  <a:cubicBezTo>
                    <a:pt x="68" y="54"/>
                    <a:pt x="74" y="46"/>
                    <a:pt x="74" y="34"/>
                  </a:cubicBezTo>
                  <a:cubicBezTo>
                    <a:pt x="74" y="23"/>
                    <a:pt x="68" y="15"/>
                    <a:pt x="59" y="15"/>
                  </a:cubicBezTo>
                  <a:close/>
                  <a:moveTo>
                    <a:pt x="59" y="19"/>
                  </a:moveTo>
                  <a:cubicBezTo>
                    <a:pt x="63" y="19"/>
                    <a:pt x="66" y="24"/>
                    <a:pt x="66" y="33"/>
                  </a:cubicBezTo>
                  <a:cubicBezTo>
                    <a:pt x="66" y="44"/>
                    <a:pt x="63" y="50"/>
                    <a:pt x="59" y="50"/>
                  </a:cubicBezTo>
                  <a:cubicBezTo>
                    <a:pt x="54" y="50"/>
                    <a:pt x="52" y="45"/>
                    <a:pt x="52" y="35"/>
                  </a:cubicBezTo>
                  <a:cubicBezTo>
                    <a:pt x="52" y="25"/>
                    <a:pt x="55" y="19"/>
                    <a:pt x="59" y="19"/>
                  </a:cubicBezTo>
                  <a:close/>
                  <a:moveTo>
                    <a:pt x="107" y="34"/>
                  </a:moveTo>
                  <a:cubicBezTo>
                    <a:pt x="107" y="21"/>
                    <a:pt x="103" y="15"/>
                    <a:pt x="94" y="15"/>
                  </a:cubicBezTo>
                  <a:cubicBezTo>
                    <a:pt x="85" y="15"/>
                    <a:pt x="80" y="23"/>
                    <a:pt x="80" y="36"/>
                  </a:cubicBezTo>
                  <a:cubicBezTo>
                    <a:pt x="80" y="48"/>
                    <a:pt x="85" y="54"/>
                    <a:pt x="94" y="54"/>
                  </a:cubicBezTo>
                  <a:cubicBezTo>
                    <a:pt x="100" y="54"/>
                    <a:pt x="103" y="52"/>
                    <a:pt x="107" y="45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1" y="47"/>
                    <a:pt x="99" y="49"/>
                    <a:pt x="96" y="49"/>
                  </a:cubicBezTo>
                  <a:cubicBezTo>
                    <a:pt x="91" y="49"/>
                    <a:pt x="88" y="44"/>
                    <a:pt x="87" y="34"/>
                  </a:cubicBezTo>
                  <a:cubicBezTo>
                    <a:pt x="107" y="34"/>
                    <a:pt x="107" y="34"/>
                    <a:pt x="107" y="34"/>
                  </a:cubicBezTo>
                  <a:close/>
                  <a:moveTo>
                    <a:pt x="87" y="30"/>
                  </a:moveTo>
                  <a:cubicBezTo>
                    <a:pt x="88" y="22"/>
                    <a:pt x="90" y="19"/>
                    <a:pt x="94" y="19"/>
                  </a:cubicBezTo>
                  <a:cubicBezTo>
                    <a:pt x="97" y="19"/>
                    <a:pt x="99" y="22"/>
                    <a:pt x="99" y="30"/>
                  </a:cubicBezTo>
                  <a:cubicBezTo>
                    <a:pt x="87" y="30"/>
                    <a:pt x="87" y="30"/>
                    <a:pt x="87" y="30"/>
                  </a:cubicBezTo>
                  <a:close/>
                  <a:moveTo>
                    <a:pt x="17" y="13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17" y="132"/>
                    <a:pt x="17" y="132"/>
                    <a:pt x="17" y="132"/>
                  </a:cubicBezTo>
                  <a:close/>
                  <a:moveTo>
                    <a:pt x="57" y="132"/>
                  </a:moveTo>
                  <a:cubicBezTo>
                    <a:pt x="57" y="129"/>
                    <a:pt x="57" y="129"/>
                    <a:pt x="57" y="129"/>
                  </a:cubicBezTo>
                  <a:cubicBezTo>
                    <a:pt x="53" y="128"/>
                    <a:pt x="53" y="128"/>
                    <a:pt x="53" y="128"/>
                  </a:cubicBezTo>
                  <a:cubicBezTo>
                    <a:pt x="53" y="104"/>
                    <a:pt x="53" y="104"/>
                    <a:pt x="53" y="104"/>
                  </a:cubicBezTo>
                  <a:cubicBezTo>
                    <a:pt x="53" y="98"/>
                    <a:pt x="50" y="94"/>
                    <a:pt x="44" y="94"/>
                  </a:cubicBezTo>
                  <a:cubicBezTo>
                    <a:pt x="41" y="94"/>
                    <a:pt x="39" y="95"/>
                    <a:pt x="34" y="98"/>
                  </a:cubicBezTo>
                  <a:cubicBezTo>
                    <a:pt x="34" y="94"/>
                    <a:pt x="34" y="94"/>
                    <a:pt x="34" y="94"/>
                  </a:cubicBezTo>
                  <a:cubicBezTo>
                    <a:pt x="32" y="94"/>
                    <a:pt x="32" y="94"/>
                    <a:pt x="32" y="94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7" y="100"/>
                    <a:pt x="27" y="100"/>
                    <a:pt x="27" y="100"/>
                  </a:cubicBezTo>
                  <a:cubicBezTo>
                    <a:pt x="27" y="128"/>
                    <a:pt x="27" y="128"/>
                    <a:pt x="27" y="128"/>
                  </a:cubicBezTo>
                  <a:cubicBezTo>
                    <a:pt x="23" y="129"/>
                    <a:pt x="23" y="129"/>
                    <a:pt x="23" y="129"/>
                  </a:cubicBezTo>
                  <a:cubicBezTo>
                    <a:pt x="23" y="132"/>
                    <a:pt x="23" y="132"/>
                    <a:pt x="23" y="132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29"/>
                    <a:pt x="38" y="129"/>
                    <a:pt x="38" y="129"/>
                  </a:cubicBezTo>
                  <a:cubicBezTo>
                    <a:pt x="34" y="128"/>
                    <a:pt x="34" y="128"/>
                    <a:pt x="34" y="128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37" y="100"/>
                    <a:pt x="39" y="99"/>
                    <a:pt x="42" y="99"/>
                  </a:cubicBezTo>
                  <a:cubicBezTo>
                    <a:pt x="45" y="99"/>
                    <a:pt x="46" y="101"/>
                    <a:pt x="46" y="106"/>
                  </a:cubicBezTo>
                  <a:cubicBezTo>
                    <a:pt x="46" y="128"/>
                    <a:pt x="46" y="128"/>
                    <a:pt x="46" y="128"/>
                  </a:cubicBezTo>
                  <a:cubicBezTo>
                    <a:pt x="42" y="129"/>
                    <a:pt x="42" y="129"/>
                    <a:pt x="42" y="129"/>
                  </a:cubicBezTo>
                  <a:cubicBezTo>
                    <a:pt x="42" y="132"/>
                    <a:pt x="42" y="132"/>
                    <a:pt x="42" y="132"/>
                  </a:cubicBezTo>
                  <a:cubicBezTo>
                    <a:pt x="57" y="132"/>
                    <a:pt x="57" y="132"/>
                    <a:pt x="57" y="132"/>
                  </a:cubicBezTo>
                  <a:close/>
                  <a:moveTo>
                    <a:pt x="93" y="99"/>
                  </a:moveTo>
                  <a:cubicBezTo>
                    <a:pt x="93" y="95"/>
                    <a:pt x="93" y="95"/>
                    <a:pt x="93" y="95"/>
                  </a:cubicBezTo>
                  <a:cubicBezTo>
                    <a:pt x="87" y="95"/>
                    <a:pt x="87" y="95"/>
                    <a:pt x="87" y="95"/>
                  </a:cubicBezTo>
                  <a:cubicBezTo>
                    <a:pt x="86" y="95"/>
                    <a:pt x="86" y="95"/>
                    <a:pt x="86" y="95"/>
                  </a:cubicBezTo>
                  <a:cubicBezTo>
                    <a:pt x="85" y="95"/>
                    <a:pt x="84" y="95"/>
                    <a:pt x="84" y="95"/>
                  </a:cubicBezTo>
                  <a:cubicBezTo>
                    <a:pt x="84" y="95"/>
                    <a:pt x="82" y="95"/>
                    <a:pt x="81" y="94"/>
                  </a:cubicBezTo>
                  <a:cubicBezTo>
                    <a:pt x="78" y="94"/>
                    <a:pt x="78" y="93"/>
                    <a:pt x="76" y="93"/>
                  </a:cubicBezTo>
                  <a:cubicBezTo>
                    <a:pt x="69" y="93"/>
                    <a:pt x="63" y="99"/>
                    <a:pt x="63" y="106"/>
                  </a:cubicBezTo>
                  <a:cubicBezTo>
                    <a:pt x="63" y="111"/>
                    <a:pt x="65" y="114"/>
                    <a:pt x="70" y="117"/>
                  </a:cubicBezTo>
                  <a:cubicBezTo>
                    <a:pt x="65" y="120"/>
                    <a:pt x="63" y="122"/>
                    <a:pt x="63" y="125"/>
                  </a:cubicBezTo>
                  <a:cubicBezTo>
                    <a:pt x="63" y="127"/>
                    <a:pt x="64" y="129"/>
                    <a:pt x="67" y="130"/>
                  </a:cubicBezTo>
                  <a:cubicBezTo>
                    <a:pt x="62" y="133"/>
                    <a:pt x="61" y="135"/>
                    <a:pt x="61" y="138"/>
                  </a:cubicBezTo>
                  <a:cubicBezTo>
                    <a:pt x="61" y="143"/>
                    <a:pt x="66" y="146"/>
                    <a:pt x="75" y="146"/>
                  </a:cubicBezTo>
                  <a:cubicBezTo>
                    <a:pt x="86" y="146"/>
                    <a:pt x="93" y="141"/>
                    <a:pt x="93" y="132"/>
                  </a:cubicBezTo>
                  <a:cubicBezTo>
                    <a:pt x="93" y="127"/>
                    <a:pt x="90" y="124"/>
                    <a:pt x="82" y="124"/>
                  </a:cubicBezTo>
                  <a:cubicBezTo>
                    <a:pt x="73" y="123"/>
                    <a:pt x="73" y="123"/>
                    <a:pt x="73" y="123"/>
                  </a:cubicBezTo>
                  <a:cubicBezTo>
                    <a:pt x="71" y="123"/>
                    <a:pt x="70" y="123"/>
                    <a:pt x="70" y="122"/>
                  </a:cubicBezTo>
                  <a:cubicBezTo>
                    <a:pt x="70" y="121"/>
                    <a:pt x="71" y="119"/>
                    <a:pt x="73" y="118"/>
                  </a:cubicBezTo>
                  <a:cubicBezTo>
                    <a:pt x="74" y="119"/>
                    <a:pt x="75" y="119"/>
                    <a:pt x="77" y="119"/>
                  </a:cubicBezTo>
                  <a:cubicBezTo>
                    <a:pt x="84" y="119"/>
                    <a:pt x="90" y="114"/>
                    <a:pt x="90" y="107"/>
                  </a:cubicBezTo>
                  <a:cubicBezTo>
                    <a:pt x="90" y="104"/>
                    <a:pt x="89" y="102"/>
                    <a:pt x="87" y="99"/>
                  </a:cubicBezTo>
                  <a:cubicBezTo>
                    <a:pt x="93" y="99"/>
                    <a:pt x="93" y="99"/>
                    <a:pt x="93" y="99"/>
                  </a:cubicBezTo>
                  <a:close/>
                  <a:moveTo>
                    <a:pt x="76" y="97"/>
                  </a:moveTo>
                  <a:cubicBezTo>
                    <a:pt x="80" y="97"/>
                    <a:pt x="82" y="100"/>
                    <a:pt x="82" y="107"/>
                  </a:cubicBezTo>
                  <a:cubicBezTo>
                    <a:pt x="82" y="112"/>
                    <a:pt x="80" y="115"/>
                    <a:pt x="77" y="115"/>
                  </a:cubicBezTo>
                  <a:cubicBezTo>
                    <a:pt x="73" y="115"/>
                    <a:pt x="71" y="112"/>
                    <a:pt x="71" y="106"/>
                  </a:cubicBezTo>
                  <a:cubicBezTo>
                    <a:pt x="71" y="100"/>
                    <a:pt x="73" y="97"/>
                    <a:pt x="76" y="97"/>
                  </a:cubicBezTo>
                  <a:close/>
                  <a:moveTo>
                    <a:pt x="74" y="131"/>
                  </a:moveTo>
                  <a:cubicBezTo>
                    <a:pt x="86" y="131"/>
                    <a:pt x="88" y="132"/>
                    <a:pt x="88" y="135"/>
                  </a:cubicBezTo>
                  <a:cubicBezTo>
                    <a:pt x="88" y="139"/>
                    <a:pt x="83" y="142"/>
                    <a:pt x="76" y="142"/>
                  </a:cubicBezTo>
                  <a:cubicBezTo>
                    <a:pt x="71" y="142"/>
                    <a:pt x="68" y="140"/>
                    <a:pt x="68" y="136"/>
                  </a:cubicBezTo>
                  <a:cubicBezTo>
                    <a:pt x="68" y="134"/>
                    <a:pt x="69" y="132"/>
                    <a:pt x="71" y="131"/>
                  </a:cubicBezTo>
                  <a:cubicBezTo>
                    <a:pt x="74" y="131"/>
                    <a:pt x="74" y="131"/>
                    <a:pt x="74" y="1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6"/>
            <p:cNvSpPr>
              <a:spLocks noEditPoints="1"/>
            </p:cNvSpPr>
            <p:nvPr/>
          </p:nvSpPr>
          <p:spPr bwMode="auto">
            <a:xfrm>
              <a:off x="2103438" y="-793750"/>
              <a:ext cx="547687" cy="547687"/>
            </a:xfrm>
            <a:custGeom>
              <a:avLst/>
              <a:gdLst>
                <a:gd name="T0" fmla="*/ 33 w 146"/>
                <a:gd name="T1" fmla="*/ 134 h 146"/>
                <a:gd name="T2" fmla="*/ 12 w 146"/>
                <a:gd name="T3" fmla="*/ 113 h 146"/>
                <a:gd name="T4" fmla="*/ 0 w 146"/>
                <a:gd name="T5" fmla="*/ 73 h 146"/>
                <a:gd name="T6" fmla="*/ 73 w 146"/>
                <a:gd name="T7" fmla="*/ 0 h 146"/>
                <a:gd name="T8" fmla="*/ 146 w 146"/>
                <a:gd name="T9" fmla="*/ 73 h 146"/>
                <a:gd name="T10" fmla="*/ 130 w 146"/>
                <a:gd name="T11" fmla="*/ 119 h 146"/>
                <a:gd name="T12" fmla="*/ 113 w 146"/>
                <a:gd name="T13" fmla="*/ 134 h 146"/>
                <a:gd name="T14" fmla="*/ 113 w 146"/>
                <a:gd name="T15" fmla="*/ 91 h 146"/>
                <a:gd name="T16" fmla="*/ 121 w 146"/>
                <a:gd name="T17" fmla="*/ 91 h 146"/>
                <a:gd name="T18" fmla="*/ 121 w 146"/>
                <a:gd name="T19" fmla="*/ 121 h 146"/>
                <a:gd name="T20" fmla="*/ 131 w 146"/>
                <a:gd name="T21" fmla="*/ 106 h 146"/>
                <a:gd name="T22" fmla="*/ 139 w 146"/>
                <a:gd name="T23" fmla="*/ 73 h 146"/>
                <a:gd name="T24" fmla="*/ 73 w 146"/>
                <a:gd name="T25" fmla="*/ 6 h 146"/>
                <a:gd name="T26" fmla="*/ 7 w 146"/>
                <a:gd name="T27" fmla="*/ 74 h 146"/>
                <a:gd name="T28" fmla="*/ 26 w 146"/>
                <a:gd name="T29" fmla="*/ 121 h 146"/>
                <a:gd name="T30" fmla="*/ 26 w 146"/>
                <a:gd name="T31" fmla="*/ 91 h 146"/>
                <a:gd name="T32" fmla="*/ 33 w 146"/>
                <a:gd name="T33" fmla="*/ 91 h 146"/>
                <a:gd name="T34" fmla="*/ 33 w 146"/>
                <a:gd name="T35" fmla="*/ 134 h 146"/>
                <a:gd name="T36" fmla="*/ 48 w 146"/>
                <a:gd name="T37" fmla="*/ 142 h 146"/>
                <a:gd name="T38" fmla="*/ 40 w 146"/>
                <a:gd name="T39" fmla="*/ 138 h 146"/>
                <a:gd name="T40" fmla="*/ 40 w 146"/>
                <a:gd name="T41" fmla="*/ 91 h 146"/>
                <a:gd name="T42" fmla="*/ 48 w 146"/>
                <a:gd name="T43" fmla="*/ 91 h 146"/>
                <a:gd name="T44" fmla="*/ 48 w 146"/>
                <a:gd name="T45" fmla="*/ 142 h 146"/>
                <a:gd name="T46" fmla="*/ 62 w 146"/>
                <a:gd name="T47" fmla="*/ 145 h 146"/>
                <a:gd name="T48" fmla="*/ 58 w 146"/>
                <a:gd name="T49" fmla="*/ 145 h 146"/>
                <a:gd name="T50" fmla="*/ 55 w 146"/>
                <a:gd name="T51" fmla="*/ 144 h 146"/>
                <a:gd name="T52" fmla="*/ 55 w 146"/>
                <a:gd name="T53" fmla="*/ 44 h 146"/>
                <a:gd name="T54" fmla="*/ 62 w 146"/>
                <a:gd name="T55" fmla="*/ 44 h 146"/>
                <a:gd name="T56" fmla="*/ 62 w 146"/>
                <a:gd name="T57" fmla="*/ 145 h 146"/>
                <a:gd name="T58" fmla="*/ 77 w 146"/>
                <a:gd name="T59" fmla="*/ 146 h 146"/>
                <a:gd name="T60" fmla="*/ 74 w 146"/>
                <a:gd name="T61" fmla="*/ 146 h 146"/>
                <a:gd name="T62" fmla="*/ 70 w 146"/>
                <a:gd name="T63" fmla="*/ 146 h 146"/>
                <a:gd name="T64" fmla="*/ 70 w 146"/>
                <a:gd name="T65" fmla="*/ 44 h 146"/>
                <a:gd name="T66" fmla="*/ 77 w 146"/>
                <a:gd name="T67" fmla="*/ 44 h 146"/>
                <a:gd name="T68" fmla="*/ 77 w 146"/>
                <a:gd name="T69" fmla="*/ 146 h 146"/>
                <a:gd name="T70" fmla="*/ 91 w 146"/>
                <a:gd name="T71" fmla="*/ 144 h 146"/>
                <a:gd name="T72" fmla="*/ 84 w 146"/>
                <a:gd name="T73" fmla="*/ 146 h 146"/>
                <a:gd name="T74" fmla="*/ 84 w 146"/>
                <a:gd name="T75" fmla="*/ 44 h 146"/>
                <a:gd name="T76" fmla="*/ 91 w 146"/>
                <a:gd name="T77" fmla="*/ 44 h 146"/>
                <a:gd name="T78" fmla="*/ 91 w 146"/>
                <a:gd name="T79" fmla="*/ 144 h 146"/>
                <a:gd name="T80" fmla="*/ 91 w 146"/>
                <a:gd name="T81" fmla="*/ 39 h 146"/>
                <a:gd name="T82" fmla="*/ 73 w 146"/>
                <a:gd name="T83" fmla="*/ 24 h 146"/>
                <a:gd name="T84" fmla="*/ 55 w 146"/>
                <a:gd name="T85" fmla="*/ 39 h 146"/>
                <a:gd name="T86" fmla="*/ 51 w 146"/>
                <a:gd name="T87" fmla="*/ 33 h 146"/>
                <a:gd name="T88" fmla="*/ 73 w 146"/>
                <a:gd name="T89" fmla="*/ 16 h 146"/>
                <a:gd name="T90" fmla="*/ 95 w 146"/>
                <a:gd name="T91" fmla="*/ 33 h 146"/>
                <a:gd name="T92" fmla="*/ 91 w 146"/>
                <a:gd name="T93" fmla="*/ 39 h 146"/>
                <a:gd name="T94" fmla="*/ 106 w 146"/>
                <a:gd name="T95" fmla="*/ 138 h 146"/>
                <a:gd name="T96" fmla="*/ 99 w 146"/>
                <a:gd name="T97" fmla="*/ 142 h 146"/>
                <a:gd name="T98" fmla="*/ 99 w 146"/>
                <a:gd name="T99" fmla="*/ 91 h 146"/>
                <a:gd name="T100" fmla="*/ 106 w 146"/>
                <a:gd name="T101" fmla="*/ 91 h 146"/>
                <a:gd name="T102" fmla="*/ 106 w 146"/>
                <a:gd name="T103" fmla="*/ 13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6" h="146">
                  <a:moveTo>
                    <a:pt x="33" y="134"/>
                  </a:moveTo>
                  <a:cubicBezTo>
                    <a:pt x="23" y="127"/>
                    <a:pt x="17" y="121"/>
                    <a:pt x="12" y="113"/>
                  </a:cubicBezTo>
                  <a:cubicBezTo>
                    <a:pt x="4" y="101"/>
                    <a:pt x="0" y="87"/>
                    <a:pt x="0" y="73"/>
                  </a:cubicBez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6" y="33"/>
                    <a:pt x="146" y="73"/>
                  </a:cubicBezTo>
                  <a:cubicBezTo>
                    <a:pt x="146" y="90"/>
                    <a:pt x="140" y="106"/>
                    <a:pt x="130" y="119"/>
                  </a:cubicBezTo>
                  <a:cubicBezTo>
                    <a:pt x="126" y="124"/>
                    <a:pt x="123" y="127"/>
                    <a:pt x="113" y="134"/>
                  </a:cubicBezTo>
                  <a:cubicBezTo>
                    <a:pt x="113" y="91"/>
                    <a:pt x="113" y="91"/>
                    <a:pt x="113" y="91"/>
                  </a:cubicBezTo>
                  <a:cubicBezTo>
                    <a:pt x="121" y="91"/>
                    <a:pt x="121" y="91"/>
                    <a:pt x="121" y="9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6" y="114"/>
                    <a:pt x="128" y="110"/>
                    <a:pt x="131" y="106"/>
                  </a:cubicBezTo>
                  <a:cubicBezTo>
                    <a:pt x="136" y="96"/>
                    <a:pt x="139" y="85"/>
                    <a:pt x="139" y="73"/>
                  </a:cubicBezTo>
                  <a:cubicBezTo>
                    <a:pt x="139" y="36"/>
                    <a:pt x="110" y="6"/>
                    <a:pt x="73" y="6"/>
                  </a:cubicBezTo>
                  <a:cubicBezTo>
                    <a:pt x="36" y="6"/>
                    <a:pt x="7" y="36"/>
                    <a:pt x="7" y="74"/>
                  </a:cubicBezTo>
                  <a:cubicBezTo>
                    <a:pt x="7" y="91"/>
                    <a:pt x="13" y="106"/>
                    <a:pt x="26" y="121"/>
                  </a:cubicBezTo>
                  <a:cubicBezTo>
                    <a:pt x="26" y="91"/>
                    <a:pt x="26" y="91"/>
                    <a:pt x="26" y="91"/>
                  </a:cubicBezTo>
                  <a:cubicBezTo>
                    <a:pt x="33" y="91"/>
                    <a:pt x="33" y="91"/>
                    <a:pt x="33" y="91"/>
                  </a:cubicBezTo>
                  <a:cubicBezTo>
                    <a:pt x="33" y="134"/>
                    <a:pt x="33" y="134"/>
                    <a:pt x="33" y="134"/>
                  </a:cubicBezTo>
                  <a:close/>
                  <a:moveTo>
                    <a:pt x="48" y="142"/>
                  </a:moveTo>
                  <a:cubicBezTo>
                    <a:pt x="46" y="141"/>
                    <a:pt x="43" y="140"/>
                    <a:pt x="40" y="138"/>
                  </a:cubicBezTo>
                  <a:cubicBezTo>
                    <a:pt x="40" y="91"/>
                    <a:pt x="40" y="91"/>
                    <a:pt x="40" y="91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48" y="142"/>
                    <a:pt x="48" y="142"/>
                    <a:pt x="48" y="142"/>
                  </a:cubicBezTo>
                  <a:close/>
                  <a:moveTo>
                    <a:pt x="62" y="145"/>
                  </a:moveTo>
                  <a:cubicBezTo>
                    <a:pt x="60" y="145"/>
                    <a:pt x="59" y="145"/>
                    <a:pt x="58" y="145"/>
                  </a:cubicBezTo>
                  <a:cubicBezTo>
                    <a:pt x="58" y="144"/>
                    <a:pt x="57" y="144"/>
                    <a:pt x="55" y="1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145"/>
                    <a:pt x="62" y="145"/>
                    <a:pt x="62" y="145"/>
                  </a:cubicBezTo>
                  <a:close/>
                  <a:moveTo>
                    <a:pt x="77" y="146"/>
                  </a:moveTo>
                  <a:cubicBezTo>
                    <a:pt x="76" y="146"/>
                    <a:pt x="75" y="146"/>
                    <a:pt x="74" y="146"/>
                  </a:cubicBezTo>
                  <a:cubicBezTo>
                    <a:pt x="72" y="146"/>
                    <a:pt x="71" y="146"/>
                    <a:pt x="70" y="146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146"/>
                    <a:pt x="77" y="146"/>
                    <a:pt x="77" y="146"/>
                  </a:cubicBezTo>
                  <a:close/>
                  <a:moveTo>
                    <a:pt x="91" y="144"/>
                  </a:moveTo>
                  <a:cubicBezTo>
                    <a:pt x="89" y="144"/>
                    <a:pt x="87" y="145"/>
                    <a:pt x="84" y="146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91" y="144"/>
                    <a:pt x="91" y="144"/>
                    <a:pt x="91" y="144"/>
                  </a:cubicBezTo>
                  <a:close/>
                  <a:moveTo>
                    <a:pt x="91" y="39"/>
                  </a:moveTo>
                  <a:cubicBezTo>
                    <a:pt x="73" y="24"/>
                    <a:pt x="73" y="24"/>
                    <a:pt x="73" y="24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1" y="39"/>
                    <a:pt x="91" y="39"/>
                    <a:pt x="91" y="39"/>
                  </a:cubicBezTo>
                  <a:close/>
                  <a:moveTo>
                    <a:pt x="106" y="138"/>
                  </a:moveTo>
                  <a:cubicBezTo>
                    <a:pt x="104" y="139"/>
                    <a:pt x="102" y="140"/>
                    <a:pt x="99" y="142"/>
                  </a:cubicBezTo>
                  <a:cubicBezTo>
                    <a:pt x="99" y="91"/>
                    <a:pt x="99" y="91"/>
                    <a:pt x="99" y="91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6" y="138"/>
                    <a:pt x="106" y="138"/>
                    <a:pt x="106" y="1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8"/>
            <p:cNvSpPr>
              <a:spLocks noEditPoints="1"/>
            </p:cNvSpPr>
            <p:nvPr/>
          </p:nvSpPr>
          <p:spPr bwMode="auto">
            <a:xfrm>
              <a:off x="3124200" y="-779463"/>
              <a:ext cx="449262" cy="509587"/>
            </a:xfrm>
            <a:custGeom>
              <a:avLst/>
              <a:gdLst>
                <a:gd name="T0" fmla="*/ 14 w 120"/>
                <a:gd name="T1" fmla="*/ 100 h 136"/>
                <a:gd name="T2" fmla="*/ 7 w 120"/>
                <a:gd name="T3" fmla="*/ 112 h 136"/>
                <a:gd name="T4" fmla="*/ 48 w 120"/>
                <a:gd name="T5" fmla="*/ 53 h 136"/>
                <a:gd name="T6" fmla="*/ 44 w 120"/>
                <a:gd name="T7" fmla="*/ 29 h 136"/>
                <a:gd name="T8" fmla="*/ 25 w 120"/>
                <a:gd name="T9" fmla="*/ 23 h 136"/>
                <a:gd name="T10" fmla="*/ 23 w 120"/>
                <a:gd name="T11" fmla="*/ 0 h 136"/>
                <a:gd name="T12" fmla="*/ 13 w 120"/>
                <a:gd name="T13" fmla="*/ 5 h 136"/>
                <a:gd name="T14" fmla="*/ 18 w 120"/>
                <a:gd name="T15" fmla="*/ 52 h 136"/>
                <a:gd name="T16" fmla="*/ 13 w 120"/>
                <a:gd name="T17" fmla="*/ 56 h 136"/>
                <a:gd name="T18" fmla="*/ 29 w 120"/>
                <a:gd name="T19" fmla="*/ 53 h 136"/>
                <a:gd name="T20" fmla="*/ 25 w 120"/>
                <a:gd name="T21" fmla="*/ 28 h 136"/>
                <a:gd name="T22" fmla="*/ 36 w 120"/>
                <a:gd name="T23" fmla="*/ 32 h 136"/>
                <a:gd name="T24" fmla="*/ 33 w 120"/>
                <a:gd name="T25" fmla="*/ 53 h 136"/>
                <a:gd name="T26" fmla="*/ 48 w 120"/>
                <a:gd name="T27" fmla="*/ 56 h 136"/>
                <a:gd name="T28" fmla="*/ 62 w 120"/>
                <a:gd name="T29" fmla="*/ 18 h 136"/>
                <a:gd name="T30" fmla="*/ 53 w 120"/>
                <a:gd name="T31" fmla="*/ 23 h 136"/>
                <a:gd name="T32" fmla="*/ 58 w 120"/>
                <a:gd name="T33" fmla="*/ 52 h 136"/>
                <a:gd name="T34" fmla="*/ 53 w 120"/>
                <a:gd name="T35" fmla="*/ 56 h 136"/>
                <a:gd name="T36" fmla="*/ 70 w 120"/>
                <a:gd name="T37" fmla="*/ 53 h 136"/>
                <a:gd name="T38" fmla="*/ 65 w 120"/>
                <a:gd name="T39" fmla="*/ 32 h 136"/>
                <a:gd name="T40" fmla="*/ 74 w 120"/>
                <a:gd name="T41" fmla="*/ 28 h 136"/>
                <a:gd name="T42" fmla="*/ 72 w 120"/>
                <a:gd name="T43" fmla="*/ 19 h 136"/>
                <a:gd name="T44" fmla="*/ 65 w 120"/>
                <a:gd name="T45" fmla="*/ 18 h 136"/>
                <a:gd name="T46" fmla="*/ 83 w 120"/>
                <a:gd name="T47" fmla="*/ 5 h 136"/>
                <a:gd name="T48" fmla="*/ 92 w 120"/>
                <a:gd name="T49" fmla="*/ 5 h 136"/>
                <a:gd name="T50" fmla="*/ 96 w 120"/>
                <a:gd name="T51" fmla="*/ 56 h 136"/>
                <a:gd name="T52" fmla="*/ 92 w 120"/>
                <a:gd name="T53" fmla="*/ 52 h 136"/>
                <a:gd name="T54" fmla="*/ 90 w 120"/>
                <a:gd name="T55" fmla="*/ 19 h 136"/>
                <a:gd name="T56" fmla="*/ 80 w 120"/>
                <a:gd name="T57" fmla="*/ 24 h 136"/>
                <a:gd name="T58" fmla="*/ 84 w 120"/>
                <a:gd name="T59" fmla="*/ 52 h 136"/>
                <a:gd name="T60" fmla="*/ 80 w 120"/>
                <a:gd name="T61" fmla="*/ 56 h 136"/>
                <a:gd name="T62" fmla="*/ 27 w 120"/>
                <a:gd name="T63" fmla="*/ 115 h 136"/>
                <a:gd name="T64" fmla="*/ 14 w 120"/>
                <a:gd name="T65" fmla="*/ 97 h 136"/>
                <a:gd name="T66" fmla="*/ 14 w 120"/>
                <a:gd name="T67" fmla="*/ 136 h 136"/>
                <a:gd name="T68" fmla="*/ 23 w 120"/>
                <a:gd name="T69" fmla="*/ 125 h 136"/>
                <a:gd name="T70" fmla="*/ 7 w 120"/>
                <a:gd name="T71" fmla="*/ 115 h 136"/>
                <a:gd name="T72" fmla="*/ 47 w 120"/>
                <a:gd name="T73" fmla="*/ 135 h 136"/>
                <a:gd name="T74" fmla="*/ 43 w 120"/>
                <a:gd name="T75" fmla="*/ 131 h 136"/>
                <a:gd name="T76" fmla="*/ 41 w 120"/>
                <a:gd name="T77" fmla="*/ 78 h 136"/>
                <a:gd name="T78" fmla="*/ 31 w 120"/>
                <a:gd name="T79" fmla="*/ 83 h 136"/>
                <a:gd name="T80" fmla="*/ 36 w 120"/>
                <a:gd name="T81" fmla="*/ 131 h 136"/>
                <a:gd name="T82" fmla="*/ 31 w 120"/>
                <a:gd name="T83" fmla="*/ 135 h 136"/>
                <a:gd name="T84" fmla="*/ 87 w 120"/>
                <a:gd name="T85" fmla="*/ 135 h 136"/>
                <a:gd name="T86" fmla="*/ 83 w 120"/>
                <a:gd name="T87" fmla="*/ 131 h 136"/>
                <a:gd name="T88" fmla="*/ 74 w 120"/>
                <a:gd name="T89" fmla="*/ 97 h 136"/>
                <a:gd name="T90" fmla="*/ 64 w 120"/>
                <a:gd name="T91" fmla="*/ 78 h 136"/>
                <a:gd name="T92" fmla="*/ 53 w 120"/>
                <a:gd name="T93" fmla="*/ 81 h 136"/>
                <a:gd name="T94" fmla="*/ 57 w 120"/>
                <a:gd name="T95" fmla="*/ 84 h 136"/>
                <a:gd name="T96" fmla="*/ 52 w 120"/>
                <a:gd name="T97" fmla="*/ 132 h 136"/>
                <a:gd name="T98" fmla="*/ 68 w 120"/>
                <a:gd name="T99" fmla="*/ 135 h 136"/>
                <a:gd name="T100" fmla="*/ 64 w 120"/>
                <a:gd name="T101" fmla="*/ 131 h 136"/>
                <a:gd name="T102" fmla="*/ 71 w 120"/>
                <a:gd name="T103" fmla="*/ 103 h 136"/>
                <a:gd name="T104" fmla="*/ 76 w 120"/>
                <a:gd name="T105" fmla="*/ 131 h 136"/>
                <a:gd name="T106" fmla="*/ 72 w 120"/>
                <a:gd name="T107" fmla="*/ 135 h 136"/>
                <a:gd name="T108" fmla="*/ 120 w 120"/>
                <a:gd name="T109" fmla="*/ 115 h 136"/>
                <a:gd name="T110" fmla="*/ 107 w 120"/>
                <a:gd name="T111" fmla="*/ 97 h 136"/>
                <a:gd name="T112" fmla="*/ 107 w 120"/>
                <a:gd name="T113" fmla="*/ 136 h 136"/>
                <a:gd name="T114" fmla="*/ 116 w 120"/>
                <a:gd name="T115" fmla="*/ 125 h 136"/>
                <a:gd name="T116" fmla="*/ 100 w 120"/>
                <a:gd name="T117" fmla="*/ 115 h 136"/>
                <a:gd name="T118" fmla="*/ 100 w 120"/>
                <a:gd name="T119" fmla="*/ 112 h 136"/>
                <a:gd name="T120" fmla="*/ 112 w 120"/>
                <a:gd name="T121" fmla="*/ 11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" h="136">
                  <a:moveTo>
                    <a:pt x="7" y="112"/>
                  </a:moveTo>
                  <a:cubicBezTo>
                    <a:pt x="8" y="104"/>
                    <a:pt x="10" y="100"/>
                    <a:pt x="14" y="100"/>
                  </a:cubicBezTo>
                  <a:cubicBezTo>
                    <a:pt x="17" y="100"/>
                    <a:pt x="19" y="104"/>
                    <a:pt x="19" y="112"/>
                  </a:cubicBezTo>
                  <a:cubicBezTo>
                    <a:pt x="7" y="112"/>
                    <a:pt x="7" y="112"/>
                    <a:pt x="7" y="112"/>
                  </a:cubicBezTo>
                  <a:close/>
                  <a:moveTo>
                    <a:pt x="48" y="56"/>
                  </a:moveTo>
                  <a:cubicBezTo>
                    <a:pt x="48" y="53"/>
                    <a:pt x="48" y="53"/>
                    <a:pt x="48" y="53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2"/>
                    <a:pt x="41" y="19"/>
                    <a:pt x="35" y="19"/>
                  </a:cubicBezTo>
                  <a:cubicBezTo>
                    <a:pt x="32" y="19"/>
                    <a:pt x="29" y="20"/>
                    <a:pt x="25" y="2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8" y="25"/>
                    <a:pt x="30" y="24"/>
                    <a:pt x="32" y="24"/>
                  </a:cubicBezTo>
                  <a:cubicBezTo>
                    <a:pt x="35" y="24"/>
                    <a:pt x="36" y="26"/>
                    <a:pt x="36" y="32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48" y="56"/>
                    <a:pt x="48" y="56"/>
                    <a:pt x="48" y="56"/>
                  </a:cubicBezTo>
                  <a:close/>
                  <a:moveTo>
                    <a:pt x="65" y="18"/>
                  </a:moveTo>
                  <a:cubicBezTo>
                    <a:pt x="62" y="18"/>
                    <a:pt x="62" y="18"/>
                    <a:pt x="62" y="18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5" y="30"/>
                    <a:pt x="67" y="27"/>
                    <a:pt x="70" y="26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6" y="26"/>
                    <a:pt x="76" y="25"/>
                    <a:pt x="76" y="23"/>
                  </a:cubicBezTo>
                  <a:cubicBezTo>
                    <a:pt x="76" y="21"/>
                    <a:pt x="75" y="19"/>
                    <a:pt x="72" y="19"/>
                  </a:cubicBezTo>
                  <a:cubicBezTo>
                    <a:pt x="69" y="19"/>
                    <a:pt x="68" y="20"/>
                    <a:pt x="65" y="26"/>
                  </a:cubicBezTo>
                  <a:cubicBezTo>
                    <a:pt x="65" y="18"/>
                    <a:pt x="65" y="18"/>
                    <a:pt x="65" y="18"/>
                  </a:cubicBezTo>
                  <a:close/>
                  <a:moveTo>
                    <a:pt x="88" y="0"/>
                  </a:moveTo>
                  <a:cubicBezTo>
                    <a:pt x="85" y="0"/>
                    <a:pt x="83" y="2"/>
                    <a:pt x="83" y="5"/>
                  </a:cubicBezTo>
                  <a:cubicBezTo>
                    <a:pt x="83" y="8"/>
                    <a:pt x="85" y="10"/>
                    <a:pt x="88" y="10"/>
                  </a:cubicBezTo>
                  <a:cubicBezTo>
                    <a:pt x="90" y="10"/>
                    <a:pt x="92" y="8"/>
                    <a:pt x="92" y="5"/>
                  </a:cubicBezTo>
                  <a:cubicBezTo>
                    <a:pt x="92" y="2"/>
                    <a:pt x="90" y="0"/>
                    <a:pt x="88" y="0"/>
                  </a:cubicBezTo>
                  <a:close/>
                  <a:moveTo>
                    <a:pt x="96" y="56"/>
                  </a:moveTo>
                  <a:cubicBezTo>
                    <a:pt x="96" y="53"/>
                    <a:pt x="96" y="53"/>
                    <a:pt x="96" y="53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19"/>
                    <a:pt x="92" y="19"/>
                    <a:pt x="92" y="19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80" y="21"/>
                    <a:pt x="80" y="21"/>
                    <a:pt x="80" y="21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0" y="53"/>
                    <a:pt x="80" y="53"/>
                    <a:pt x="80" y="53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96" y="56"/>
                    <a:pt x="96" y="56"/>
                    <a:pt x="96" y="56"/>
                  </a:cubicBezTo>
                  <a:close/>
                  <a:moveTo>
                    <a:pt x="27" y="115"/>
                  </a:moveTo>
                  <a:cubicBezTo>
                    <a:pt x="27" y="110"/>
                    <a:pt x="26" y="108"/>
                    <a:pt x="26" y="106"/>
                  </a:cubicBezTo>
                  <a:cubicBezTo>
                    <a:pt x="24" y="100"/>
                    <a:pt x="20" y="97"/>
                    <a:pt x="14" y="97"/>
                  </a:cubicBezTo>
                  <a:cubicBezTo>
                    <a:pt x="5" y="97"/>
                    <a:pt x="0" y="104"/>
                    <a:pt x="0" y="117"/>
                  </a:cubicBezTo>
                  <a:cubicBezTo>
                    <a:pt x="0" y="129"/>
                    <a:pt x="5" y="136"/>
                    <a:pt x="14" y="136"/>
                  </a:cubicBezTo>
                  <a:cubicBezTo>
                    <a:pt x="20" y="136"/>
                    <a:pt x="23" y="133"/>
                    <a:pt x="27" y="127"/>
                  </a:cubicBezTo>
                  <a:cubicBezTo>
                    <a:pt x="23" y="125"/>
                    <a:pt x="23" y="125"/>
                    <a:pt x="23" y="125"/>
                  </a:cubicBezTo>
                  <a:cubicBezTo>
                    <a:pt x="21" y="129"/>
                    <a:pt x="19" y="130"/>
                    <a:pt x="16" y="130"/>
                  </a:cubicBezTo>
                  <a:cubicBezTo>
                    <a:pt x="11" y="130"/>
                    <a:pt x="8" y="126"/>
                    <a:pt x="7" y="115"/>
                  </a:cubicBezTo>
                  <a:cubicBezTo>
                    <a:pt x="27" y="115"/>
                    <a:pt x="27" y="115"/>
                    <a:pt x="27" y="115"/>
                  </a:cubicBezTo>
                  <a:close/>
                  <a:moveTo>
                    <a:pt x="47" y="135"/>
                  </a:moveTo>
                  <a:cubicBezTo>
                    <a:pt x="47" y="132"/>
                    <a:pt x="47" y="132"/>
                    <a:pt x="47" y="132"/>
                  </a:cubicBezTo>
                  <a:cubicBezTo>
                    <a:pt x="43" y="131"/>
                    <a:pt x="43" y="131"/>
                    <a:pt x="43" y="131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6" y="131"/>
                    <a:pt x="36" y="131"/>
                    <a:pt x="36" y="131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31" y="135"/>
                    <a:pt x="31" y="135"/>
                    <a:pt x="31" y="135"/>
                  </a:cubicBezTo>
                  <a:cubicBezTo>
                    <a:pt x="47" y="135"/>
                    <a:pt x="47" y="135"/>
                    <a:pt x="47" y="135"/>
                  </a:cubicBezTo>
                  <a:close/>
                  <a:moveTo>
                    <a:pt x="87" y="135"/>
                  </a:moveTo>
                  <a:cubicBezTo>
                    <a:pt x="87" y="132"/>
                    <a:pt x="87" y="132"/>
                    <a:pt x="87" y="132"/>
                  </a:cubicBezTo>
                  <a:cubicBezTo>
                    <a:pt x="83" y="131"/>
                    <a:pt x="83" y="131"/>
                    <a:pt x="83" y="131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83" y="101"/>
                    <a:pt x="80" y="97"/>
                    <a:pt x="74" y="97"/>
                  </a:cubicBezTo>
                  <a:cubicBezTo>
                    <a:pt x="71" y="97"/>
                    <a:pt x="68" y="98"/>
                    <a:pt x="64" y="102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131"/>
                    <a:pt x="57" y="131"/>
                    <a:pt x="57" y="131"/>
                  </a:cubicBezTo>
                  <a:cubicBezTo>
                    <a:pt x="52" y="132"/>
                    <a:pt x="52" y="132"/>
                    <a:pt x="52" y="132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8" y="132"/>
                    <a:pt x="68" y="132"/>
                    <a:pt x="68" y="132"/>
                  </a:cubicBezTo>
                  <a:cubicBezTo>
                    <a:pt x="64" y="131"/>
                    <a:pt x="64" y="131"/>
                    <a:pt x="64" y="131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7" y="104"/>
                    <a:pt x="69" y="103"/>
                    <a:pt x="71" y="103"/>
                  </a:cubicBezTo>
                  <a:cubicBezTo>
                    <a:pt x="74" y="103"/>
                    <a:pt x="76" y="105"/>
                    <a:pt x="76" y="110"/>
                  </a:cubicBezTo>
                  <a:cubicBezTo>
                    <a:pt x="76" y="131"/>
                    <a:pt x="76" y="131"/>
                    <a:pt x="76" y="131"/>
                  </a:cubicBezTo>
                  <a:cubicBezTo>
                    <a:pt x="72" y="132"/>
                    <a:pt x="72" y="132"/>
                    <a:pt x="72" y="132"/>
                  </a:cubicBezTo>
                  <a:cubicBezTo>
                    <a:pt x="72" y="135"/>
                    <a:pt x="72" y="135"/>
                    <a:pt x="72" y="135"/>
                  </a:cubicBezTo>
                  <a:cubicBezTo>
                    <a:pt x="87" y="135"/>
                    <a:pt x="87" y="135"/>
                    <a:pt x="87" y="135"/>
                  </a:cubicBezTo>
                  <a:close/>
                  <a:moveTo>
                    <a:pt x="120" y="115"/>
                  </a:moveTo>
                  <a:cubicBezTo>
                    <a:pt x="119" y="110"/>
                    <a:pt x="119" y="108"/>
                    <a:pt x="119" y="106"/>
                  </a:cubicBezTo>
                  <a:cubicBezTo>
                    <a:pt x="117" y="100"/>
                    <a:pt x="113" y="97"/>
                    <a:pt x="107" y="97"/>
                  </a:cubicBezTo>
                  <a:cubicBezTo>
                    <a:pt x="98" y="97"/>
                    <a:pt x="92" y="104"/>
                    <a:pt x="92" y="117"/>
                  </a:cubicBezTo>
                  <a:cubicBezTo>
                    <a:pt x="92" y="129"/>
                    <a:pt x="98" y="136"/>
                    <a:pt x="107" y="136"/>
                  </a:cubicBezTo>
                  <a:cubicBezTo>
                    <a:pt x="113" y="136"/>
                    <a:pt x="116" y="133"/>
                    <a:pt x="120" y="127"/>
                  </a:cubicBezTo>
                  <a:cubicBezTo>
                    <a:pt x="116" y="125"/>
                    <a:pt x="116" y="125"/>
                    <a:pt x="116" y="125"/>
                  </a:cubicBezTo>
                  <a:cubicBezTo>
                    <a:pt x="114" y="129"/>
                    <a:pt x="112" y="130"/>
                    <a:pt x="109" y="130"/>
                  </a:cubicBezTo>
                  <a:cubicBezTo>
                    <a:pt x="103" y="130"/>
                    <a:pt x="101" y="126"/>
                    <a:pt x="100" y="115"/>
                  </a:cubicBezTo>
                  <a:cubicBezTo>
                    <a:pt x="120" y="115"/>
                    <a:pt x="120" y="115"/>
                    <a:pt x="120" y="115"/>
                  </a:cubicBezTo>
                  <a:close/>
                  <a:moveTo>
                    <a:pt x="100" y="112"/>
                  </a:moveTo>
                  <a:cubicBezTo>
                    <a:pt x="101" y="104"/>
                    <a:pt x="103" y="100"/>
                    <a:pt x="106" y="100"/>
                  </a:cubicBezTo>
                  <a:cubicBezTo>
                    <a:pt x="110" y="100"/>
                    <a:pt x="112" y="104"/>
                    <a:pt x="112" y="112"/>
                  </a:cubicBezTo>
                  <a:cubicBezTo>
                    <a:pt x="100" y="112"/>
                    <a:pt x="100" y="112"/>
                    <a:pt x="100" y="1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 9"/>
            <p:cNvSpPr>
              <a:spLocks noEditPoints="1"/>
            </p:cNvSpPr>
            <p:nvPr/>
          </p:nvSpPr>
          <p:spPr bwMode="auto">
            <a:xfrm>
              <a:off x="3506788" y="-711200"/>
              <a:ext cx="490537" cy="438150"/>
            </a:xfrm>
            <a:custGeom>
              <a:avLst/>
              <a:gdLst>
                <a:gd name="T0" fmla="*/ 53 w 131"/>
                <a:gd name="T1" fmla="*/ 22 h 117"/>
                <a:gd name="T2" fmla="*/ 34 w 131"/>
                <a:gd name="T3" fmla="*/ 38 h 117"/>
                <a:gd name="T4" fmla="*/ 30 w 131"/>
                <a:gd name="T5" fmla="*/ 10 h 117"/>
                <a:gd name="T6" fmla="*/ 11 w 131"/>
                <a:gd name="T7" fmla="*/ 0 h 117"/>
                <a:gd name="T8" fmla="*/ 0 w 131"/>
                <a:gd name="T9" fmla="*/ 6 h 117"/>
                <a:gd name="T10" fmla="*/ 0 w 131"/>
                <a:gd name="T11" fmla="*/ 35 h 117"/>
                <a:gd name="T12" fmla="*/ 15 w 131"/>
                <a:gd name="T13" fmla="*/ 35 h 117"/>
                <a:gd name="T14" fmla="*/ 19 w 131"/>
                <a:gd name="T15" fmla="*/ 6 h 117"/>
                <a:gd name="T16" fmla="*/ 19 w 131"/>
                <a:gd name="T17" fmla="*/ 35 h 117"/>
                <a:gd name="T18" fmla="*/ 70 w 131"/>
                <a:gd name="T19" fmla="*/ 6 h 117"/>
                <a:gd name="T20" fmla="*/ 63 w 131"/>
                <a:gd name="T21" fmla="*/ 1 h 117"/>
                <a:gd name="T22" fmla="*/ 53 w 131"/>
                <a:gd name="T23" fmla="*/ 0 h 117"/>
                <a:gd name="T24" fmla="*/ 39 w 131"/>
                <a:gd name="T25" fmla="*/ 31 h 117"/>
                <a:gd name="T26" fmla="*/ 51 w 131"/>
                <a:gd name="T27" fmla="*/ 52 h 117"/>
                <a:gd name="T28" fmla="*/ 50 w 131"/>
                <a:gd name="T29" fmla="*/ 30 h 117"/>
                <a:gd name="T30" fmla="*/ 54 w 131"/>
                <a:gd name="T31" fmla="*/ 25 h 117"/>
                <a:gd name="T32" fmla="*/ 70 w 131"/>
                <a:gd name="T33" fmla="*/ 6 h 117"/>
                <a:gd name="T34" fmla="*/ 53 w 131"/>
                <a:gd name="T35" fmla="*/ 48 h 117"/>
                <a:gd name="T36" fmla="*/ 102 w 131"/>
                <a:gd name="T37" fmla="*/ 19 h 117"/>
                <a:gd name="T38" fmla="*/ 89 w 131"/>
                <a:gd name="T39" fmla="*/ 39 h 117"/>
                <a:gd name="T40" fmla="*/ 91 w 131"/>
                <a:gd name="T41" fmla="*/ 34 h 117"/>
                <a:gd name="T42" fmla="*/ 82 w 131"/>
                <a:gd name="T43" fmla="*/ 15 h 117"/>
                <a:gd name="T44" fmla="*/ 82 w 131"/>
                <a:gd name="T45" fmla="*/ 15 h 117"/>
                <a:gd name="T46" fmla="*/ 108 w 131"/>
                <a:gd name="T47" fmla="*/ 3 h 117"/>
                <a:gd name="T48" fmla="*/ 112 w 131"/>
                <a:gd name="T49" fmla="*/ 34 h 117"/>
                <a:gd name="T50" fmla="*/ 125 w 131"/>
                <a:gd name="T51" fmla="*/ 38 h 117"/>
                <a:gd name="T52" fmla="*/ 120 w 131"/>
                <a:gd name="T53" fmla="*/ 14 h 117"/>
                <a:gd name="T54" fmla="*/ 131 w 131"/>
                <a:gd name="T55" fmla="*/ 5 h 117"/>
                <a:gd name="T56" fmla="*/ 120 w 131"/>
                <a:gd name="T57" fmla="*/ 0 h 117"/>
                <a:gd name="T58" fmla="*/ 31 w 131"/>
                <a:gd name="T59" fmla="*/ 70 h 117"/>
                <a:gd name="T60" fmla="*/ 39 w 131"/>
                <a:gd name="T61" fmla="*/ 117 h 117"/>
                <a:gd name="T62" fmla="*/ 35 w 131"/>
                <a:gd name="T63" fmla="*/ 79 h 117"/>
                <a:gd name="T64" fmla="*/ 24 w 131"/>
                <a:gd name="T65" fmla="*/ 84 h 117"/>
                <a:gd name="T66" fmla="*/ 24 w 131"/>
                <a:gd name="T67" fmla="*/ 114 h 117"/>
                <a:gd name="T68" fmla="*/ 100 w 131"/>
                <a:gd name="T69" fmla="*/ 114 h 117"/>
                <a:gd name="T70" fmla="*/ 86 w 131"/>
                <a:gd name="T71" fmla="*/ 79 h 117"/>
                <a:gd name="T72" fmla="*/ 56 w 131"/>
                <a:gd name="T73" fmla="*/ 84 h 117"/>
                <a:gd name="T74" fmla="*/ 45 w 131"/>
                <a:gd name="T75" fmla="*/ 81 h 117"/>
                <a:gd name="T76" fmla="*/ 49 w 131"/>
                <a:gd name="T77" fmla="*/ 113 h 117"/>
                <a:gd name="T78" fmla="*/ 60 w 131"/>
                <a:gd name="T79" fmla="*/ 117 h 117"/>
                <a:gd name="T80" fmla="*/ 57 w 131"/>
                <a:gd name="T81" fmla="*/ 88 h 117"/>
                <a:gd name="T82" fmla="*/ 69 w 131"/>
                <a:gd name="T83" fmla="*/ 113 h 117"/>
                <a:gd name="T84" fmla="*/ 80 w 131"/>
                <a:gd name="T85" fmla="*/ 117 h 117"/>
                <a:gd name="T86" fmla="*/ 76 w 131"/>
                <a:gd name="T87" fmla="*/ 88 h 117"/>
                <a:gd name="T88" fmla="*/ 88 w 131"/>
                <a:gd name="T89" fmla="*/ 113 h 117"/>
                <a:gd name="T90" fmla="*/ 100 w 131"/>
                <a:gd name="T91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1" h="117">
                  <a:moveTo>
                    <a:pt x="53" y="3"/>
                  </a:moveTo>
                  <a:cubicBezTo>
                    <a:pt x="57" y="3"/>
                    <a:pt x="59" y="6"/>
                    <a:pt x="59" y="13"/>
                  </a:cubicBezTo>
                  <a:cubicBezTo>
                    <a:pt x="59" y="19"/>
                    <a:pt x="57" y="22"/>
                    <a:pt x="53" y="22"/>
                  </a:cubicBezTo>
                  <a:cubicBezTo>
                    <a:pt x="50" y="22"/>
                    <a:pt x="48" y="19"/>
                    <a:pt x="48" y="12"/>
                  </a:cubicBezTo>
                  <a:cubicBezTo>
                    <a:pt x="48" y="6"/>
                    <a:pt x="50" y="3"/>
                    <a:pt x="53" y="3"/>
                  </a:cubicBezTo>
                  <a:close/>
                  <a:moveTo>
                    <a:pt x="34" y="38"/>
                  </a:moveTo>
                  <a:cubicBezTo>
                    <a:pt x="34" y="35"/>
                    <a:pt x="34" y="35"/>
                    <a:pt x="34" y="35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4"/>
                    <a:pt x="27" y="0"/>
                    <a:pt x="21" y="0"/>
                  </a:cubicBezTo>
                  <a:cubicBezTo>
                    <a:pt x="18" y="0"/>
                    <a:pt x="16" y="1"/>
                    <a:pt x="11" y="5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4" y="7"/>
                    <a:pt x="16" y="6"/>
                    <a:pt x="19" y="6"/>
                  </a:cubicBezTo>
                  <a:cubicBezTo>
                    <a:pt x="22" y="6"/>
                    <a:pt x="23" y="8"/>
                    <a:pt x="23" y="12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34" y="38"/>
                    <a:pt x="34" y="38"/>
                    <a:pt x="34" y="38"/>
                  </a:cubicBezTo>
                  <a:close/>
                  <a:moveTo>
                    <a:pt x="70" y="6"/>
                  </a:moveTo>
                  <a:cubicBezTo>
                    <a:pt x="70" y="1"/>
                    <a:pt x="70" y="1"/>
                    <a:pt x="70" y="1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2" y="1"/>
                    <a:pt x="61" y="1"/>
                    <a:pt x="61" y="1"/>
                  </a:cubicBezTo>
                  <a:cubicBezTo>
                    <a:pt x="60" y="1"/>
                    <a:pt x="59" y="1"/>
                    <a:pt x="58" y="1"/>
                  </a:cubicBezTo>
                  <a:cubicBezTo>
                    <a:pt x="55" y="0"/>
                    <a:pt x="54" y="0"/>
                    <a:pt x="53" y="0"/>
                  </a:cubicBezTo>
                  <a:cubicBezTo>
                    <a:pt x="46" y="0"/>
                    <a:pt x="40" y="6"/>
                    <a:pt x="40" y="13"/>
                  </a:cubicBezTo>
                  <a:cubicBezTo>
                    <a:pt x="40" y="18"/>
                    <a:pt x="42" y="20"/>
                    <a:pt x="46" y="23"/>
                  </a:cubicBezTo>
                  <a:cubicBezTo>
                    <a:pt x="41" y="26"/>
                    <a:pt x="39" y="29"/>
                    <a:pt x="39" y="31"/>
                  </a:cubicBezTo>
                  <a:cubicBezTo>
                    <a:pt x="39" y="34"/>
                    <a:pt x="41" y="35"/>
                    <a:pt x="44" y="36"/>
                  </a:cubicBezTo>
                  <a:cubicBezTo>
                    <a:pt x="39" y="39"/>
                    <a:pt x="38" y="41"/>
                    <a:pt x="38" y="44"/>
                  </a:cubicBezTo>
                  <a:cubicBezTo>
                    <a:pt x="38" y="49"/>
                    <a:pt x="43" y="52"/>
                    <a:pt x="51" y="52"/>
                  </a:cubicBezTo>
                  <a:cubicBezTo>
                    <a:pt x="63" y="52"/>
                    <a:pt x="70" y="47"/>
                    <a:pt x="70" y="39"/>
                  </a:cubicBezTo>
                  <a:cubicBezTo>
                    <a:pt x="70" y="33"/>
                    <a:pt x="66" y="30"/>
                    <a:pt x="59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48" y="29"/>
                    <a:pt x="47" y="29"/>
                    <a:pt x="47" y="28"/>
                  </a:cubicBezTo>
                  <a:cubicBezTo>
                    <a:pt x="47" y="27"/>
                    <a:pt x="48" y="26"/>
                    <a:pt x="50" y="25"/>
                  </a:cubicBezTo>
                  <a:cubicBezTo>
                    <a:pt x="51" y="25"/>
                    <a:pt x="52" y="25"/>
                    <a:pt x="54" y="25"/>
                  </a:cubicBezTo>
                  <a:cubicBezTo>
                    <a:pt x="61" y="25"/>
                    <a:pt x="67" y="20"/>
                    <a:pt x="67" y="13"/>
                  </a:cubicBezTo>
                  <a:cubicBezTo>
                    <a:pt x="67" y="10"/>
                    <a:pt x="66" y="8"/>
                    <a:pt x="64" y="6"/>
                  </a:cubicBezTo>
                  <a:cubicBezTo>
                    <a:pt x="70" y="6"/>
                    <a:pt x="70" y="6"/>
                    <a:pt x="70" y="6"/>
                  </a:cubicBezTo>
                  <a:close/>
                  <a:moveTo>
                    <a:pt x="48" y="37"/>
                  </a:moveTo>
                  <a:cubicBezTo>
                    <a:pt x="63" y="38"/>
                    <a:pt x="64" y="38"/>
                    <a:pt x="64" y="42"/>
                  </a:cubicBezTo>
                  <a:cubicBezTo>
                    <a:pt x="64" y="45"/>
                    <a:pt x="60" y="48"/>
                    <a:pt x="53" y="48"/>
                  </a:cubicBezTo>
                  <a:cubicBezTo>
                    <a:pt x="48" y="48"/>
                    <a:pt x="45" y="46"/>
                    <a:pt x="45" y="43"/>
                  </a:cubicBezTo>
                  <a:cubicBezTo>
                    <a:pt x="45" y="40"/>
                    <a:pt x="46" y="39"/>
                    <a:pt x="48" y="37"/>
                  </a:cubicBezTo>
                  <a:close/>
                  <a:moveTo>
                    <a:pt x="102" y="19"/>
                  </a:moveTo>
                  <a:cubicBezTo>
                    <a:pt x="102" y="6"/>
                    <a:pt x="97" y="0"/>
                    <a:pt x="89" y="0"/>
                  </a:cubicBezTo>
                  <a:cubicBezTo>
                    <a:pt x="80" y="0"/>
                    <a:pt x="75" y="8"/>
                    <a:pt x="75" y="21"/>
                  </a:cubicBezTo>
                  <a:cubicBezTo>
                    <a:pt x="75" y="33"/>
                    <a:pt x="80" y="39"/>
                    <a:pt x="89" y="39"/>
                  </a:cubicBezTo>
                  <a:cubicBezTo>
                    <a:pt x="95" y="39"/>
                    <a:pt x="98" y="37"/>
                    <a:pt x="102" y="30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6" y="32"/>
                    <a:pt x="94" y="34"/>
                    <a:pt x="91" y="34"/>
                  </a:cubicBezTo>
                  <a:cubicBezTo>
                    <a:pt x="86" y="34"/>
                    <a:pt x="83" y="29"/>
                    <a:pt x="82" y="19"/>
                  </a:cubicBezTo>
                  <a:cubicBezTo>
                    <a:pt x="102" y="19"/>
                    <a:pt x="102" y="19"/>
                    <a:pt x="102" y="19"/>
                  </a:cubicBezTo>
                  <a:close/>
                  <a:moveTo>
                    <a:pt x="82" y="15"/>
                  </a:moveTo>
                  <a:cubicBezTo>
                    <a:pt x="83" y="7"/>
                    <a:pt x="85" y="4"/>
                    <a:pt x="88" y="4"/>
                  </a:cubicBezTo>
                  <a:cubicBezTo>
                    <a:pt x="92" y="4"/>
                    <a:pt x="94" y="7"/>
                    <a:pt x="94" y="15"/>
                  </a:cubicBezTo>
                  <a:cubicBezTo>
                    <a:pt x="82" y="15"/>
                    <a:pt x="82" y="15"/>
                    <a:pt x="82" y="15"/>
                  </a:cubicBezTo>
                  <a:close/>
                  <a:moveTo>
                    <a:pt x="120" y="0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108" y="3"/>
                    <a:pt x="108" y="3"/>
                    <a:pt x="108" y="3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2" y="34"/>
                    <a:pt x="112" y="34"/>
                    <a:pt x="112" y="34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5" y="35"/>
                    <a:pt x="125" y="35"/>
                    <a:pt x="125" y="35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14"/>
                    <a:pt x="120" y="14"/>
                    <a:pt x="120" y="14"/>
                  </a:cubicBezTo>
                  <a:cubicBezTo>
                    <a:pt x="120" y="12"/>
                    <a:pt x="122" y="9"/>
                    <a:pt x="124" y="8"/>
                  </a:cubicBezTo>
                  <a:cubicBezTo>
                    <a:pt x="128" y="10"/>
                    <a:pt x="128" y="10"/>
                    <a:pt x="128" y="10"/>
                  </a:cubicBezTo>
                  <a:cubicBezTo>
                    <a:pt x="130" y="8"/>
                    <a:pt x="131" y="7"/>
                    <a:pt x="131" y="5"/>
                  </a:cubicBezTo>
                  <a:cubicBezTo>
                    <a:pt x="131" y="3"/>
                    <a:pt x="130" y="1"/>
                    <a:pt x="127" y="1"/>
                  </a:cubicBezTo>
                  <a:cubicBezTo>
                    <a:pt x="124" y="1"/>
                    <a:pt x="123" y="2"/>
                    <a:pt x="120" y="8"/>
                  </a:cubicBezTo>
                  <a:cubicBezTo>
                    <a:pt x="120" y="0"/>
                    <a:pt x="120" y="0"/>
                    <a:pt x="120" y="0"/>
                  </a:cubicBezTo>
                  <a:close/>
                  <a:moveTo>
                    <a:pt x="31" y="60"/>
                  </a:moveTo>
                  <a:cubicBezTo>
                    <a:pt x="28" y="60"/>
                    <a:pt x="26" y="63"/>
                    <a:pt x="26" y="65"/>
                  </a:cubicBezTo>
                  <a:cubicBezTo>
                    <a:pt x="26" y="68"/>
                    <a:pt x="28" y="70"/>
                    <a:pt x="31" y="70"/>
                  </a:cubicBezTo>
                  <a:cubicBezTo>
                    <a:pt x="34" y="70"/>
                    <a:pt x="36" y="68"/>
                    <a:pt x="36" y="65"/>
                  </a:cubicBezTo>
                  <a:cubicBezTo>
                    <a:pt x="36" y="63"/>
                    <a:pt x="34" y="60"/>
                    <a:pt x="31" y="60"/>
                  </a:cubicBezTo>
                  <a:close/>
                  <a:moveTo>
                    <a:pt x="39" y="117"/>
                  </a:moveTo>
                  <a:cubicBezTo>
                    <a:pt x="39" y="114"/>
                    <a:pt x="39" y="114"/>
                    <a:pt x="39" y="114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24" y="82"/>
                    <a:pt x="24" y="82"/>
                    <a:pt x="24" y="82"/>
                  </a:cubicBezTo>
                  <a:cubicBezTo>
                    <a:pt x="24" y="84"/>
                    <a:pt x="24" y="84"/>
                    <a:pt x="24" y="84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24" y="114"/>
                    <a:pt x="24" y="114"/>
                    <a:pt x="24" y="114"/>
                  </a:cubicBezTo>
                  <a:cubicBezTo>
                    <a:pt x="24" y="117"/>
                    <a:pt x="24" y="117"/>
                    <a:pt x="24" y="117"/>
                  </a:cubicBezTo>
                  <a:cubicBezTo>
                    <a:pt x="100" y="117"/>
                    <a:pt x="100" y="117"/>
                    <a:pt x="100" y="117"/>
                  </a:cubicBezTo>
                  <a:cubicBezTo>
                    <a:pt x="100" y="114"/>
                    <a:pt x="100" y="114"/>
                    <a:pt x="100" y="114"/>
                  </a:cubicBezTo>
                  <a:cubicBezTo>
                    <a:pt x="95" y="113"/>
                    <a:pt x="95" y="113"/>
                    <a:pt x="95" y="113"/>
                  </a:cubicBezTo>
                  <a:cubicBezTo>
                    <a:pt x="95" y="90"/>
                    <a:pt x="95" y="90"/>
                    <a:pt x="95" y="90"/>
                  </a:cubicBezTo>
                  <a:cubicBezTo>
                    <a:pt x="95" y="82"/>
                    <a:pt x="93" y="79"/>
                    <a:pt x="86" y="79"/>
                  </a:cubicBezTo>
                  <a:cubicBezTo>
                    <a:pt x="82" y="79"/>
                    <a:pt x="79" y="81"/>
                    <a:pt x="75" y="84"/>
                  </a:cubicBezTo>
                  <a:cubicBezTo>
                    <a:pt x="73" y="81"/>
                    <a:pt x="71" y="79"/>
                    <a:pt x="67" y="79"/>
                  </a:cubicBezTo>
                  <a:cubicBezTo>
                    <a:pt x="63" y="79"/>
                    <a:pt x="60" y="81"/>
                    <a:pt x="56" y="84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113"/>
                    <a:pt x="49" y="113"/>
                    <a:pt x="49" y="113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45" y="117"/>
                    <a:pt x="45" y="117"/>
                    <a:pt x="45" y="117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57" y="113"/>
                    <a:pt x="57" y="113"/>
                    <a:pt x="57" y="113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9" y="85"/>
                    <a:pt x="61" y="84"/>
                    <a:pt x="64" y="84"/>
                  </a:cubicBezTo>
                  <a:cubicBezTo>
                    <a:pt x="67" y="84"/>
                    <a:pt x="69" y="87"/>
                    <a:pt x="69" y="91"/>
                  </a:cubicBezTo>
                  <a:cubicBezTo>
                    <a:pt x="69" y="113"/>
                    <a:pt x="69" y="113"/>
                    <a:pt x="69" y="113"/>
                  </a:cubicBezTo>
                  <a:cubicBezTo>
                    <a:pt x="64" y="114"/>
                    <a:pt x="64" y="114"/>
                    <a:pt x="64" y="114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80" y="117"/>
                    <a:pt x="80" y="117"/>
                    <a:pt x="80" y="117"/>
                  </a:cubicBezTo>
                  <a:cubicBezTo>
                    <a:pt x="80" y="114"/>
                    <a:pt x="80" y="114"/>
                    <a:pt x="80" y="114"/>
                  </a:cubicBezTo>
                  <a:cubicBezTo>
                    <a:pt x="76" y="113"/>
                    <a:pt x="76" y="113"/>
                    <a:pt x="76" y="113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9" y="85"/>
                    <a:pt x="81" y="84"/>
                    <a:pt x="83" y="84"/>
                  </a:cubicBezTo>
                  <a:cubicBezTo>
                    <a:pt x="86" y="84"/>
                    <a:pt x="88" y="86"/>
                    <a:pt x="88" y="92"/>
                  </a:cubicBezTo>
                  <a:cubicBezTo>
                    <a:pt x="88" y="113"/>
                    <a:pt x="88" y="113"/>
                    <a:pt x="88" y="113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7"/>
                    <a:pt x="84" y="117"/>
                    <a:pt x="84" y="117"/>
                  </a:cubicBezTo>
                  <a:cubicBezTo>
                    <a:pt x="100" y="117"/>
                    <a:pt x="100" y="117"/>
                    <a:pt x="100" y="117"/>
                  </a:cubicBezTo>
                  <a:cubicBezTo>
                    <a:pt x="39" y="117"/>
                    <a:pt x="39" y="117"/>
                    <a:pt x="39" y="1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7" name="Slide Number"/>
          <p:cNvSpPr txBox="1">
            <a:spLocks/>
          </p:cNvSpPr>
          <p:nvPr/>
        </p:nvSpPr>
        <p:spPr bwMode="auto">
          <a:xfrm>
            <a:off x="8802412" y="6513631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206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defTabSz="914206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21426" y="2937165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5057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81407" y="542633"/>
            <a:ext cx="878776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auto">
          <a:xfrm>
            <a:off x="175056" y="6193943"/>
            <a:ext cx="8787763" cy="364756"/>
            <a:chOff x="171451" y="6180354"/>
            <a:chExt cx="8612313" cy="35749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71451" y="6180354"/>
              <a:ext cx="861231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5664" indent="-1056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71451" y="6383961"/>
              <a:ext cx="711989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17964" indent="-617964" defTabSz="902838" fontAlgn="base">
                <a:spcBef>
                  <a:spcPct val="0"/>
                </a:spcBef>
                <a:spcAft>
                  <a:spcPct val="0"/>
                </a:spcAft>
                <a:tabLst>
                  <a:tab pos="617964" algn="l"/>
                </a:tabLst>
              </a:pPr>
              <a:r>
                <a:rPr lang="en-US" sz="1000" dirty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21426" y="2339194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8" name="LegendBoxes" hidden="1"/>
          <p:cNvGrpSpPr>
            <a:grpSpLocks/>
          </p:cNvGrpSpPr>
          <p:nvPr/>
        </p:nvGrpSpPr>
        <p:grpSpPr bwMode="auto">
          <a:xfrm>
            <a:off x="8194372" y="275426"/>
            <a:ext cx="774702" cy="1001714"/>
            <a:chOff x="4936" y="176"/>
            <a:chExt cx="488" cy="631"/>
          </a:xfrm>
        </p:grpSpPr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878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30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878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32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878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34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35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878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36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</p:grpSp>
      <p:grpSp>
        <p:nvGrpSpPr>
          <p:cNvPr id="37" name="LegendLines" hidden="1"/>
          <p:cNvGrpSpPr>
            <a:grpSpLocks/>
          </p:cNvGrpSpPr>
          <p:nvPr/>
        </p:nvGrpSpPr>
        <p:grpSpPr bwMode="auto">
          <a:xfrm>
            <a:off x="7886493" y="275426"/>
            <a:ext cx="1082677" cy="735014"/>
            <a:chOff x="4750" y="176"/>
            <a:chExt cx="682" cy="463"/>
          </a:xfrm>
        </p:grpSpPr>
        <p:sp>
          <p:nvSpPr>
            <p:cNvPr id="38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39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40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878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878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878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</p:grpSp>
      <p:grpSp>
        <p:nvGrpSpPr>
          <p:cNvPr id="44" name="McKSticker" hidden="1"/>
          <p:cNvGrpSpPr/>
          <p:nvPr/>
        </p:nvGrpSpPr>
        <p:grpSpPr bwMode="auto">
          <a:xfrm>
            <a:off x="7880435" y="275426"/>
            <a:ext cx="1088630" cy="216680"/>
            <a:chOff x="7652146" y="285750"/>
            <a:chExt cx="1088629" cy="216680"/>
          </a:xfrm>
        </p:grpSpPr>
        <p:sp>
          <p:nvSpPr>
            <p:cNvPr id="45" name="StickerRectangle"/>
            <p:cNvSpPr>
              <a:spLocks noChangeArrowheads="1"/>
            </p:cNvSpPr>
            <p:nvPr/>
          </p:nvSpPr>
          <p:spPr bwMode="auto">
            <a:xfrm>
              <a:off x="7652146" y="285750"/>
              <a:ext cx="1088629" cy="21668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84878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808080"/>
                  </a:solidFill>
                  <a:cs typeface="Calibri" pitchFamily="34" charset="0"/>
                </a:rPr>
                <a:t>PRELIMINARY</a:t>
              </a:r>
            </a:p>
          </p:txBody>
        </p:sp>
        <p:cxnSp>
          <p:nvCxnSpPr>
            <p:cNvPr id="46" name="AutoShape 31"/>
            <p:cNvCxnSpPr>
              <a:cxnSpLocks noChangeShapeType="1"/>
              <a:stCxn id="45" idx="2"/>
              <a:endCxn id="45" idx="4"/>
            </p:cNvCxnSpPr>
            <p:nvPr/>
          </p:nvCxnSpPr>
          <p:spPr bwMode="auto">
            <a:xfrm>
              <a:off x="7652146" y="285750"/>
              <a:ext cx="0" cy="21668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7" name="AutoShape 32"/>
            <p:cNvCxnSpPr>
              <a:cxnSpLocks noChangeShapeType="1"/>
              <a:stCxn id="45" idx="4"/>
              <a:endCxn id="45" idx="6"/>
            </p:cNvCxnSpPr>
            <p:nvPr/>
          </p:nvCxnSpPr>
          <p:spPr bwMode="auto">
            <a:xfrm>
              <a:off x="7652146" y="502430"/>
              <a:ext cx="108862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8" name="LegendMoons" hidden="1"/>
          <p:cNvGrpSpPr/>
          <p:nvPr/>
        </p:nvGrpSpPr>
        <p:grpSpPr bwMode="auto">
          <a:xfrm>
            <a:off x="8128242" y="275442"/>
            <a:ext cx="840815" cy="1306516"/>
            <a:chOff x="7875175" y="286625"/>
            <a:chExt cx="840815" cy="1306516"/>
          </a:xfrm>
        </p:grpSpPr>
        <p:grpSp>
          <p:nvGrpSpPr>
            <p:cNvPr id="49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7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0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8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0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  <p:grpSp>
          <p:nvGrpSpPr>
            <p:cNvPr id="50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0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0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  <p:grpSp>
          <p:nvGrpSpPr>
            <p:cNvPr id="51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63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0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4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0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  <p:sp>
          <p:nvSpPr>
            <p:cNvPr id="52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878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53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878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54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878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55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878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56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878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grpSp>
          <p:nvGrpSpPr>
            <p:cNvPr id="57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0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0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  <p:grpSp>
          <p:nvGrpSpPr>
            <p:cNvPr id="58" name="MoonLegend1"/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0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0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</p:grpSp>
      <p:sp>
        <p:nvSpPr>
          <p:cNvPr id="69" name="Rectangle 68"/>
          <p:cNvSpPr/>
          <p:nvPr/>
        </p:nvSpPr>
        <p:spPr>
          <a:xfrm>
            <a:off x="174946" y="6546014"/>
            <a:ext cx="6841963" cy="2198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PRIVILEGED AND CONFIDENTIAL – ATTORNEY WORK PRODUCT – A/C PRIVILEGED</a:t>
            </a:r>
          </a:p>
          <a:p>
            <a:pPr defTabSz="914206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For integration preparation purposes only. All proposals will be subject to appropriate consultation where applicable with employees and employee representative bodies.</a:t>
            </a:r>
          </a:p>
        </p:txBody>
      </p:sp>
    </p:spTree>
    <p:extLst>
      <p:ext uri="{BB962C8B-B14F-4D97-AF65-F5344CB8AC3E}">
        <p14:creationId xmlns:p14="http://schemas.microsoft.com/office/powerpoint/2010/main" val="3753935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8" r:id="rId9"/>
  </p:sldLayoutIdLst>
  <p:hf sldNum="0" hdr="0" ftr="0"/>
  <p:txStyles>
    <p:titleStyle>
      <a:lvl1pPr algn="l" defTabSz="902838" rtl="0" eaLnBrk="1" fontAlgn="base" hangingPunct="1">
        <a:spcBef>
          <a:spcPct val="0"/>
        </a:spcBef>
        <a:spcAft>
          <a:spcPct val="0"/>
        </a:spcAft>
        <a:tabLst>
          <a:tab pos="27213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28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28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28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28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0981" algn="l" defTabSz="9028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2042" algn="l" defTabSz="9028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83072" algn="l" defTabSz="9028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44094" algn="l" defTabSz="9028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283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5296" indent="-193698" algn="l" defTabSz="9028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 baseline="0">
          <a:solidFill>
            <a:schemeClr val="tx1"/>
          </a:solidFill>
          <a:latin typeface="+mn-lt"/>
        </a:defRPr>
      </a:lvl2pPr>
      <a:lvl3pPr marL="460981" indent="-264131" algn="l" defTabSz="9028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9503" indent="-156883" algn="l" defTabSz="9028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▫"/>
        <a:defRPr sz="1600" baseline="0">
          <a:solidFill>
            <a:schemeClr val="tx1"/>
          </a:solidFill>
          <a:latin typeface="+mn-lt"/>
        </a:defRPr>
      </a:lvl4pPr>
      <a:lvl5pPr marL="756082" indent="-131264" algn="l" defTabSz="9028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56082" indent="-131264" algn="l" defTabSz="9028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56082" indent="-131264" algn="l" defTabSz="9028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56082" indent="-131264" algn="l" defTabSz="9028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56082" indent="-131264" algn="l" defTabSz="9028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20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0981" algn="l" defTabSz="9220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2042" algn="l" defTabSz="9220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3072" algn="l" defTabSz="9220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4094" algn="l" defTabSz="9220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5122" algn="l" defTabSz="9220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66145" algn="l" defTabSz="9220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27170" algn="l" defTabSz="9220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88194" algn="l" defTabSz="9220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996100280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/>
          <p:cNvSpPr/>
          <p:nvPr/>
        </p:nvSpPr>
        <p:spPr bwMode="ltGray">
          <a:xfrm>
            <a:off x="3239" y="6402452"/>
            <a:ext cx="9140760" cy="379385"/>
          </a:xfrm>
          <a:prstGeom prst="rect">
            <a:avLst/>
          </a:prstGeom>
          <a:solidFill>
            <a:srgbClr val="285888"/>
          </a:solidFill>
          <a:ln w="9525">
            <a:solidFill>
              <a:srgbClr val="28588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208" tIns="46111" rIns="92208" bIns="46111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60074"/>
            <a:endParaRPr lang="en-US" sz="1000" b="1" kern="0" dirty="0">
              <a:solidFill>
                <a:srgbClr val="FFFFFF"/>
              </a:solidFill>
              <a:latin typeface="BISansCond"/>
              <a:cs typeface="Arial" pitchFamily="34" charset="0"/>
            </a:endParaRPr>
          </a:p>
        </p:txBody>
      </p:sp>
      <p:sp>
        <p:nvSpPr>
          <p:cNvPr id="71" name="Rectangle 70"/>
          <p:cNvSpPr/>
          <p:nvPr/>
        </p:nvSpPr>
        <p:spPr bwMode="ltGray">
          <a:xfrm>
            <a:off x="3239" y="6781940"/>
            <a:ext cx="9140760" cy="74551"/>
          </a:xfrm>
          <a:prstGeom prst="rect">
            <a:avLst/>
          </a:prstGeom>
          <a:solidFill>
            <a:srgbClr val="003366"/>
          </a:solidFill>
          <a:ln w="9525">
            <a:solidFill>
              <a:srgbClr val="00336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208" tIns="46111" rIns="92208" bIns="46111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60074"/>
            <a:endParaRPr lang="en-US" sz="1000" b="1" kern="0" dirty="0">
              <a:solidFill>
                <a:srgbClr val="FFFFFF"/>
              </a:solidFill>
              <a:latin typeface="BISansCond"/>
              <a:cs typeface="Arial" pitchFamily="34" charset="0"/>
            </a:endParaRPr>
          </a:p>
        </p:txBody>
      </p:sp>
      <p:grpSp>
        <p:nvGrpSpPr>
          <p:cNvPr id="72" name="Group 71"/>
          <p:cNvGrpSpPr/>
          <p:nvPr/>
        </p:nvGrpSpPr>
        <p:grpSpPr bwMode="auto">
          <a:xfrm>
            <a:off x="7607998" y="6445567"/>
            <a:ext cx="1020082" cy="308657"/>
            <a:chOff x="2103438" y="-793750"/>
            <a:chExt cx="1893887" cy="573087"/>
          </a:xfrm>
        </p:grpSpPr>
        <p:sp>
          <p:nvSpPr>
            <p:cNvPr id="73" name="Freeform 7"/>
            <p:cNvSpPr>
              <a:spLocks noEditPoints="1"/>
            </p:cNvSpPr>
            <p:nvPr/>
          </p:nvSpPr>
          <p:spPr bwMode="auto">
            <a:xfrm>
              <a:off x="2755900" y="-768350"/>
              <a:ext cx="401637" cy="547687"/>
            </a:xfrm>
            <a:custGeom>
              <a:avLst/>
              <a:gdLst>
                <a:gd name="T0" fmla="*/ 13 w 107"/>
                <a:gd name="T1" fmla="*/ 4 h 146"/>
                <a:gd name="T2" fmla="*/ 26 w 107"/>
                <a:gd name="T3" fmla="*/ 13 h 146"/>
                <a:gd name="T4" fmla="*/ 13 w 107"/>
                <a:gd name="T5" fmla="*/ 24 h 146"/>
                <a:gd name="T6" fmla="*/ 0 w 107"/>
                <a:gd name="T7" fmla="*/ 1 h 146"/>
                <a:gd name="T8" fmla="*/ 5 w 107"/>
                <a:gd name="T9" fmla="*/ 5 h 146"/>
                <a:gd name="T10" fmla="*/ 0 w 107"/>
                <a:gd name="T11" fmla="*/ 50 h 146"/>
                <a:gd name="T12" fmla="*/ 9 w 107"/>
                <a:gd name="T13" fmla="*/ 53 h 146"/>
                <a:gd name="T14" fmla="*/ 19 w 107"/>
                <a:gd name="T15" fmla="*/ 54 h 146"/>
                <a:gd name="T16" fmla="*/ 38 w 107"/>
                <a:gd name="T17" fmla="*/ 40 h 146"/>
                <a:gd name="T18" fmla="*/ 35 w 107"/>
                <a:gd name="T19" fmla="*/ 13 h 146"/>
                <a:gd name="T20" fmla="*/ 15 w 107"/>
                <a:gd name="T21" fmla="*/ 0 h 146"/>
                <a:gd name="T22" fmla="*/ 13 w 107"/>
                <a:gd name="T23" fmla="*/ 28 h 146"/>
                <a:gd name="T24" fmla="*/ 29 w 107"/>
                <a:gd name="T25" fmla="*/ 39 h 146"/>
                <a:gd name="T26" fmla="*/ 13 w 107"/>
                <a:gd name="T27" fmla="*/ 49 h 146"/>
                <a:gd name="T28" fmla="*/ 59 w 107"/>
                <a:gd name="T29" fmla="*/ 15 h 146"/>
                <a:gd name="T30" fmla="*/ 59 w 107"/>
                <a:gd name="T31" fmla="*/ 54 h 146"/>
                <a:gd name="T32" fmla="*/ 59 w 107"/>
                <a:gd name="T33" fmla="*/ 15 h 146"/>
                <a:gd name="T34" fmla="*/ 66 w 107"/>
                <a:gd name="T35" fmla="*/ 33 h 146"/>
                <a:gd name="T36" fmla="*/ 52 w 107"/>
                <a:gd name="T37" fmla="*/ 35 h 146"/>
                <a:gd name="T38" fmla="*/ 107 w 107"/>
                <a:gd name="T39" fmla="*/ 34 h 146"/>
                <a:gd name="T40" fmla="*/ 80 w 107"/>
                <a:gd name="T41" fmla="*/ 36 h 146"/>
                <a:gd name="T42" fmla="*/ 107 w 107"/>
                <a:gd name="T43" fmla="*/ 45 h 146"/>
                <a:gd name="T44" fmla="*/ 96 w 107"/>
                <a:gd name="T45" fmla="*/ 49 h 146"/>
                <a:gd name="T46" fmla="*/ 107 w 107"/>
                <a:gd name="T47" fmla="*/ 34 h 146"/>
                <a:gd name="T48" fmla="*/ 94 w 107"/>
                <a:gd name="T49" fmla="*/ 19 h 146"/>
                <a:gd name="T50" fmla="*/ 87 w 107"/>
                <a:gd name="T51" fmla="*/ 30 h 146"/>
                <a:gd name="T52" fmla="*/ 17 w 107"/>
                <a:gd name="T53" fmla="*/ 129 h 146"/>
                <a:gd name="T54" fmla="*/ 13 w 107"/>
                <a:gd name="T55" fmla="*/ 83 h 146"/>
                <a:gd name="T56" fmla="*/ 18 w 107"/>
                <a:gd name="T57" fmla="*/ 79 h 146"/>
                <a:gd name="T58" fmla="*/ 0 w 107"/>
                <a:gd name="T59" fmla="*/ 82 h 146"/>
                <a:gd name="T60" fmla="*/ 5 w 107"/>
                <a:gd name="T61" fmla="*/ 128 h 146"/>
                <a:gd name="T62" fmla="*/ 0 w 107"/>
                <a:gd name="T63" fmla="*/ 132 h 146"/>
                <a:gd name="T64" fmla="*/ 57 w 107"/>
                <a:gd name="T65" fmla="*/ 132 h 146"/>
                <a:gd name="T66" fmla="*/ 53 w 107"/>
                <a:gd name="T67" fmla="*/ 128 h 146"/>
                <a:gd name="T68" fmla="*/ 44 w 107"/>
                <a:gd name="T69" fmla="*/ 94 h 146"/>
                <a:gd name="T70" fmla="*/ 34 w 107"/>
                <a:gd name="T71" fmla="*/ 94 h 146"/>
                <a:gd name="T72" fmla="*/ 23 w 107"/>
                <a:gd name="T73" fmla="*/ 96 h 146"/>
                <a:gd name="T74" fmla="*/ 27 w 107"/>
                <a:gd name="T75" fmla="*/ 100 h 146"/>
                <a:gd name="T76" fmla="*/ 23 w 107"/>
                <a:gd name="T77" fmla="*/ 129 h 146"/>
                <a:gd name="T78" fmla="*/ 38 w 107"/>
                <a:gd name="T79" fmla="*/ 132 h 146"/>
                <a:gd name="T80" fmla="*/ 34 w 107"/>
                <a:gd name="T81" fmla="*/ 128 h 146"/>
                <a:gd name="T82" fmla="*/ 42 w 107"/>
                <a:gd name="T83" fmla="*/ 99 h 146"/>
                <a:gd name="T84" fmla="*/ 46 w 107"/>
                <a:gd name="T85" fmla="*/ 128 h 146"/>
                <a:gd name="T86" fmla="*/ 42 w 107"/>
                <a:gd name="T87" fmla="*/ 132 h 146"/>
                <a:gd name="T88" fmla="*/ 93 w 107"/>
                <a:gd name="T89" fmla="*/ 99 h 146"/>
                <a:gd name="T90" fmla="*/ 87 w 107"/>
                <a:gd name="T91" fmla="*/ 95 h 146"/>
                <a:gd name="T92" fmla="*/ 84 w 107"/>
                <a:gd name="T93" fmla="*/ 95 h 146"/>
                <a:gd name="T94" fmla="*/ 76 w 107"/>
                <a:gd name="T95" fmla="*/ 93 h 146"/>
                <a:gd name="T96" fmla="*/ 70 w 107"/>
                <a:gd name="T97" fmla="*/ 117 h 146"/>
                <a:gd name="T98" fmla="*/ 67 w 107"/>
                <a:gd name="T99" fmla="*/ 130 h 146"/>
                <a:gd name="T100" fmla="*/ 75 w 107"/>
                <a:gd name="T101" fmla="*/ 146 h 146"/>
                <a:gd name="T102" fmla="*/ 82 w 107"/>
                <a:gd name="T103" fmla="*/ 124 h 146"/>
                <a:gd name="T104" fmla="*/ 70 w 107"/>
                <a:gd name="T105" fmla="*/ 122 h 146"/>
                <a:gd name="T106" fmla="*/ 77 w 107"/>
                <a:gd name="T107" fmla="*/ 119 h 146"/>
                <a:gd name="T108" fmla="*/ 87 w 107"/>
                <a:gd name="T109" fmla="*/ 99 h 146"/>
                <a:gd name="T110" fmla="*/ 76 w 107"/>
                <a:gd name="T111" fmla="*/ 97 h 146"/>
                <a:gd name="T112" fmla="*/ 77 w 107"/>
                <a:gd name="T113" fmla="*/ 115 h 146"/>
                <a:gd name="T114" fmla="*/ 76 w 107"/>
                <a:gd name="T115" fmla="*/ 97 h 146"/>
                <a:gd name="T116" fmla="*/ 88 w 107"/>
                <a:gd name="T117" fmla="*/ 135 h 146"/>
                <a:gd name="T118" fmla="*/ 68 w 107"/>
                <a:gd name="T119" fmla="*/ 136 h 146"/>
                <a:gd name="T120" fmla="*/ 74 w 107"/>
                <a:gd name="T121" fmla="*/ 131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7" h="146">
                  <a:moveTo>
                    <a:pt x="13" y="24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15" y="4"/>
                    <a:pt x="16" y="3"/>
                    <a:pt x="17" y="3"/>
                  </a:cubicBezTo>
                  <a:cubicBezTo>
                    <a:pt x="23" y="3"/>
                    <a:pt x="26" y="7"/>
                    <a:pt x="26" y="13"/>
                  </a:cubicBezTo>
                  <a:cubicBezTo>
                    <a:pt x="26" y="21"/>
                    <a:pt x="23" y="24"/>
                    <a:pt x="16" y="24"/>
                  </a:cubicBezTo>
                  <a:cubicBezTo>
                    <a:pt x="13" y="24"/>
                    <a:pt x="13" y="24"/>
                    <a:pt x="13" y="24"/>
                  </a:cubicBezTo>
                  <a:close/>
                  <a:moveTo>
                    <a:pt x="9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10" y="53"/>
                    <a:pt x="12" y="53"/>
                    <a:pt x="15" y="54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5" y="54"/>
                    <a:pt x="27" y="53"/>
                    <a:pt x="30" y="52"/>
                  </a:cubicBezTo>
                  <a:cubicBezTo>
                    <a:pt x="35" y="50"/>
                    <a:pt x="38" y="45"/>
                    <a:pt x="38" y="40"/>
                  </a:cubicBezTo>
                  <a:cubicBezTo>
                    <a:pt x="38" y="32"/>
                    <a:pt x="34" y="27"/>
                    <a:pt x="26" y="25"/>
                  </a:cubicBezTo>
                  <a:cubicBezTo>
                    <a:pt x="32" y="22"/>
                    <a:pt x="35" y="18"/>
                    <a:pt x="35" y="13"/>
                  </a:cubicBezTo>
                  <a:cubicBezTo>
                    <a:pt x="35" y="5"/>
                    <a:pt x="29" y="0"/>
                    <a:pt x="20" y="0"/>
                  </a:cubicBezTo>
                  <a:cubicBezTo>
                    <a:pt x="20" y="0"/>
                    <a:pt x="18" y="0"/>
                    <a:pt x="15" y="0"/>
                  </a:cubicBezTo>
                  <a:cubicBezTo>
                    <a:pt x="9" y="1"/>
                    <a:pt x="9" y="1"/>
                    <a:pt x="9" y="1"/>
                  </a:cubicBezTo>
                  <a:close/>
                  <a:moveTo>
                    <a:pt x="13" y="28"/>
                  </a:moveTo>
                  <a:cubicBezTo>
                    <a:pt x="16" y="28"/>
                    <a:pt x="16" y="28"/>
                    <a:pt x="16" y="28"/>
                  </a:cubicBezTo>
                  <a:cubicBezTo>
                    <a:pt x="25" y="28"/>
                    <a:pt x="29" y="31"/>
                    <a:pt x="29" y="39"/>
                  </a:cubicBezTo>
                  <a:cubicBezTo>
                    <a:pt x="29" y="46"/>
                    <a:pt x="25" y="50"/>
                    <a:pt x="17" y="50"/>
                  </a:cubicBezTo>
                  <a:cubicBezTo>
                    <a:pt x="15" y="50"/>
                    <a:pt x="14" y="50"/>
                    <a:pt x="13" y="49"/>
                  </a:cubicBezTo>
                  <a:cubicBezTo>
                    <a:pt x="13" y="28"/>
                    <a:pt x="13" y="28"/>
                    <a:pt x="13" y="28"/>
                  </a:cubicBezTo>
                  <a:close/>
                  <a:moveTo>
                    <a:pt x="59" y="15"/>
                  </a:moveTo>
                  <a:cubicBezTo>
                    <a:pt x="50" y="15"/>
                    <a:pt x="44" y="23"/>
                    <a:pt x="44" y="35"/>
                  </a:cubicBezTo>
                  <a:cubicBezTo>
                    <a:pt x="44" y="46"/>
                    <a:pt x="50" y="54"/>
                    <a:pt x="59" y="54"/>
                  </a:cubicBezTo>
                  <a:cubicBezTo>
                    <a:pt x="68" y="54"/>
                    <a:pt x="74" y="46"/>
                    <a:pt x="74" y="34"/>
                  </a:cubicBezTo>
                  <a:cubicBezTo>
                    <a:pt x="74" y="23"/>
                    <a:pt x="68" y="15"/>
                    <a:pt x="59" y="15"/>
                  </a:cubicBezTo>
                  <a:close/>
                  <a:moveTo>
                    <a:pt x="59" y="19"/>
                  </a:moveTo>
                  <a:cubicBezTo>
                    <a:pt x="63" y="19"/>
                    <a:pt x="66" y="24"/>
                    <a:pt x="66" y="33"/>
                  </a:cubicBezTo>
                  <a:cubicBezTo>
                    <a:pt x="66" y="44"/>
                    <a:pt x="63" y="50"/>
                    <a:pt x="59" y="50"/>
                  </a:cubicBezTo>
                  <a:cubicBezTo>
                    <a:pt x="54" y="50"/>
                    <a:pt x="52" y="45"/>
                    <a:pt x="52" y="35"/>
                  </a:cubicBezTo>
                  <a:cubicBezTo>
                    <a:pt x="52" y="25"/>
                    <a:pt x="55" y="19"/>
                    <a:pt x="59" y="19"/>
                  </a:cubicBezTo>
                  <a:close/>
                  <a:moveTo>
                    <a:pt x="107" y="34"/>
                  </a:moveTo>
                  <a:cubicBezTo>
                    <a:pt x="107" y="21"/>
                    <a:pt x="103" y="15"/>
                    <a:pt x="94" y="15"/>
                  </a:cubicBezTo>
                  <a:cubicBezTo>
                    <a:pt x="85" y="15"/>
                    <a:pt x="80" y="23"/>
                    <a:pt x="80" y="36"/>
                  </a:cubicBezTo>
                  <a:cubicBezTo>
                    <a:pt x="80" y="48"/>
                    <a:pt x="85" y="54"/>
                    <a:pt x="94" y="54"/>
                  </a:cubicBezTo>
                  <a:cubicBezTo>
                    <a:pt x="100" y="54"/>
                    <a:pt x="103" y="52"/>
                    <a:pt x="107" y="45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1" y="47"/>
                    <a:pt x="99" y="49"/>
                    <a:pt x="96" y="49"/>
                  </a:cubicBezTo>
                  <a:cubicBezTo>
                    <a:pt x="91" y="49"/>
                    <a:pt x="88" y="44"/>
                    <a:pt x="87" y="34"/>
                  </a:cubicBezTo>
                  <a:cubicBezTo>
                    <a:pt x="107" y="34"/>
                    <a:pt x="107" y="34"/>
                    <a:pt x="107" y="34"/>
                  </a:cubicBezTo>
                  <a:close/>
                  <a:moveTo>
                    <a:pt x="87" y="30"/>
                  </a:moveTo>
                  <a:cubicBezTo>
                    <a:pt x="88" y="22"/>
                    <a:pt x="90" y="19"/>
                    <a:pt x="94" y="19"/>
                  </a:cubicBezTo>
                  <a:cubicBezTo>
                    <a:pt x="97" y="19"/>
                    <a:pt x="99" y="22"/>
                    <a:pt x="99" y="30"/>
                  </a:cubicBezTo>
                  <a:cubicBezTo>
                    <a:pt x="87" y="30"/>
                    <a:pt x="87" y="30"/>
                    <a:pt x="87" y="30"/>
                  </a:cubicBezTo>
                  <a:close/>
                  <a:moveTo>
                    <a:pt x="17" y="132"/>
                  </a:moveTo>
                  <a:cubicBezTo>
                    <a:pt x="17" y="129"/>
                    <a:pt x="17" y="129"/>
                    <a:pt x="17" y="129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17" y="132"/>
                    <a:pt x="17" y="132"/>
                    <a:pt x="17" y="132"/>
                  </a:cubicBezTo>
                  <a:close/>
                  <a:moveTo>
                    <a:pt x="57" y="132"/>
                  </a:moveTo>
                  <a:cubicBezTo>
                    <a:pt x="57" y="129"/>
                    <a:pt x="57" y="129"/>
                    <a:pt x="57" y="129"/>
                  </a:cubicBezTo>
                  <a:cubicBezTo>
                    <a:pt x="53" y="128"/>
                    <a:pt x="53" y="128"/>
                    <a:pt x="53" y="128"/>
                  </a:cubicBezTo>
                  <a:cubicBezTo>
                    <a:pt x="53" y="104"/>
                    <a:pt x="53" y="104"/>
                    <a:pt x="53" y="104"/>
                  </a:cubicBezTo>
                  <a:cubicBezTo>
                    <a:pt x="53" y="98"/>
                    <a:pt x="50" y="94"/>
                    <a:pt x="44" y="94"/>
                  </a:cubicBezTo>
                  <a:cubicBezTo>
                    <a:pt x="41" y="94"/>
                    <a:pt x="39" y="95"/>
                    <a:pt x="34" y="98"/>
                  </a:cubicBezTo>
                  <a:cubicBezTo>
                    <a:pt x="34" y="94"/>
                    <a:pt x="34" y="94"/>
                    <a:pt x="34" y="94"/>
                  </a:cubicBezTo>
                  <a:cubicBezTo>
                    <a:pt x="32" y="94"/>
                    <a:pt x="32" y="94"/>
                    <a:pt x="32" y="94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7" y="100"/>
                    <a:pt x="27" y="100"/>
                    <a:pt x="27" y="100"/>
                  </a:cubicBezTo>
                  <a:cubicBezTo>
                    <a:pt x="27" y="128"/>
                    <a:pt x="27" y="128"/>
                    <a:pt x="27" y="128"/>
                  </a:cubicBezTo>
                  <a:cubicBezTo>
                    <a:pt x="23" y="129"/>
                    <a:pt x="23" y="129"/>
                    <a:pt x="23" y="129"/>
                  </a:cubicBezTo>
                  <a:cubicBezTo>
                    <a:pt x="23" y="132"/>
                    <a:pt x="23" y="132"/>
                    <a:pt x="23" y="132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29"/>
                    <a:pt x="38" y="129"/>
                    <a:pt x="38" y="129"/>
                  </a:cubicBezTo>
                  <a:cubicBezTo>
                    <a:pt x="34" y="128"/>
                    <a:pt x="34" y="128"/>
                    <a:pt x="34" y="128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37" y="100"/>
                    <a:pt x="39" y="99"/>
                    <a:pt x="42" y="99"/>
                  </a:cubicBezTo>
                  <a:cubicBezTo>
                    <a:pt x="45" y="99"/>
                    <a:pt x="46" y="101"/>
                    <a:pt x="46" y="106"/>
                  </a:cubicBezTo>
                  <a:cubicBezTo>
                    <a:pt x="46" y="128"/>
                    <a:pt x="46" y="128"/>
                    <a:pt x="46" y="128"/>
                  </a:cubicBezTo>
                  <a:cubicBezTo>
                    <a:pt x="42" y="129"/>
                    <a:pt x="42" y="129"/>
                    <a:pt x="42" y="129"/>
                  </a:cubicBezTo>
                  <a:cubicBezTo>
                    <a:pt x="42" y="132"/>
                    <a:pt x="42" y="132"/>
                    <a:pt x="42" y="132"/>
                  </a:cubicBezTo>
                  <a:cubicBezTo>
                    <a:pt x="57" y="132"/>
                    <a:pt x="57" y="132"/>
                    <a:pt x="57" y="132"/>
                  </a:cubicBezTo>
                  <a:close/>
                  <a:moveTo>
                    <a:pt x="93" y="99"/>
                  </a:moveTo>
                  <a:cubicBezTo>
                    <a:pt x="93" y="95"/>
                    <a:pt x="93" y="95"/>
                    <a:pt x="93" y="95"/>
                  </a:cubicBezTo>
                  <a:cubicBezTo>
                    <a:pt x="87" y="95"/>
                    <a:pt x="87" y="95"/>
                    <a:pt x="87" y="95"/>
                  </a:cubicBezTo>
                  <a:cubicBezTo>
                    <a:pt x="86" y="95"/>
                    <a:pt x="86" y="95"/>
                    <a:pt x="86" y="95"/>
                  </a:cubicBezTo>
                  <a:cubicBezTo>
                    <a:pt x="85" y="95"/>
                    <a:pt x="84" y="95"/>
                    <a:pt x="84" y="95"/>
                  </a:cubicBezTo>
                  <a:cubicBezTo>
                    <a:pt x="84" y="95"/>
                    <a:pt x="82" y="95"/>
                    <a:pt x="81" y="94"/>
                  </a:cubicBezTo>
                  <a:cubicBezTo>
                    <a:pt x="78" y="94"/>
                    <a:pt x="78" y="93"/>
                    <a:pt x="76" y="93"/>
                  </a:cubicBezTo>
                  <a:cubicBezTo>
                    <a:pt x="69" y="93"/>
                    <a:pt x="63" y="99"/>
                    <a:pt x="63" y="106"/>
                  </a:cubicBezTo>
                  <a:cubicBezTo>
                    <a:pt x="63" y="111"/>
                    <a:pt x="65" y="114"/>
                    <a:pt x="70" y="117"/>
                  </a:cubicBezTo>
                  <a:cubicBezTo>
                    <a:pt x="65" y="120"/>
                    <a:pt x="63" y="122"/>
                    <a:pt x="63" y="125"/>
                  </a:cubicBezTo>
                  <a:cubicBezTo>
                    <a:pt x="63" y="127"/>
                    <a:pt x="64" y="129"/>
                    <a:pt x="67" y="130"/>
                  </a:cubicBezTo>
                  <a:cubicBezTo>
                    <a:pt x="62" y="133"/>
                    <a:pt x="61" y="135"/>
                    <a:pt x="61" y="138"/>
                  </a:cubicBezTo>
                  <a:cubicBezTo>
                    <a:pt x="61" y="143"/>
                    <a:pt x="66" y="146"/>
                    <a:pt x="75" y="146"/>
                  </a:cubicBezTo>
                  <a:cubicBezTo>
                    <a:pt x="86" y="146"/>
                    <a:pt x="93" y="141"/>
                    <a:pt x="93" y="132"/>
                  </a:cubicBezTo>
                  <a:cubicBezTo>
                    <a:pt x="93" y="127"/>
                    <a:pt x="90" y="124"/>
                    <a:pt x="82" y="124"/>
                  </a:cubicBezTo>
                  <a:cubicBezTo>
                    <a:pt x="73" y="123"/>
                    <a:pt x="73" y="123"/>
                    <a:pt x="73" y="123"/>
                  </a:cubicBezTo>
                  <a:cubicBezTo>
                    <a:pt x="71" y="123"/>
                    <a:pt x="70" y="123"/>
                    <a:pt x="70" y="122"/>
                  </a:cubicBezTo>
                  <a:cubicBezTo>
                    <a:pt x="70" y="121"/>
                    <a:pt x="71" y="119"/>
                    <a:pt x="73" y="118"/>
                  </a:cubicBezTo>
                  <a:cubicBezTo>
                    <a:pt x="74" y="119"/>
                    <a:pt x="75" y="119"/>
                    <a:pt x="77" y="119"/>
                  </a:cubicBezTo>
                  <a:cubicBezTo>
                    <a:pt x="84" y="119"/>
                    <a:pt x="90" y="114"/>
                    <a:pt x="90" y="107"/>
                  </a:cubicBezTo>
                  <a:cubicBezTo>
                    <a:pt x="90" y="104"/>
                    <a:pt x="89" y="102"/>
                    <a:pt x="87" y="99"/>
                  </a:cubicBezTo>
                  <a:cubicBezTo>
                    <a:pt x="93" y="99"/>
                    <a:pt x="93" y="99"/>
                    <a:pt x="93" y="99"/>
                  </a:cubicBezTo>
                  <a:close/>
                  <a:moveTo>
                    <a:pt x="76" y="97"/>
                  </a:moveTo>
                  <a:cubicBezTo>
                    <a:pt x="80" y="97"/>
                    <a:pt x="82" y="100"/>
                    <a:pt x="82" y="107"/>
                  </a:cubicBezTo>
                  <a:cubicBezTo>
                    <a:pt x="82" y="112"/>
                    <a:pt x="80" y="115"/>
                    <a:pt x="77" y="115"/>
                  </a:cubicBezTo>
                  <a:cubicBezTo>
                    <a:pt x="73" y="115"/>
                    <a:pt x="71" y="112"/>
                    <a:pt x="71" y="106"/>
                  </a:cubicBezTo>
                  <a:cubicBezTo>
                    <a:pt x="71" y="100"/>
                    <a:pt x="73" y="97"/>
                    <a:pt x="76" y="97"/>
                  </a:cubicBezTo>
                  <a:close/>
                  <a:moveTo>
                    <a:pt x="74" y="131"/>
                  </a:moveTo>
                  <a:cubicBezTo>
                    <a:pt x="86" y="131"/>
                    <a:pt x="88" y="132"/>
                    <a:pt x="88" y="135"/>
                  </a:cubicBezTo>
                  <a:cubicBezTo>
                    <a:pt x="88" y="139"/>
                    <a:pt x="83" y="142"/>
                    <a:pt x="76" y="142"/>
                  </a:cubicBezTo>
                  <a:cubicBezTo>
                    <a:pt x="71" y="142"/>
                    <a:pt x="68" y="140"/>
                    <a:pt x="68" y="136"/>
                  </a:cubicBezTo>
                  <a:cubicBezTo>
                    <a:pt x="68" y="134"/>
                    <a:pt x="69" y="132"/>
                    <a:pt x="71" y="131"/>
                  </a:cubicBezTo>
                  <a:cubicBezTo>
                    <a:pt x="74" y="131"/>
                    <a:pt x="74" y="131"/>
                    <a:pt x="74" y="1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6"/>
            <p:cNvSpPr>
              <a:spLocks noEditPoints="1"/>
            </p:cNvSpPr>
            <p:nvPr/>
          </p:nvSpPr>
          <p:spPr bwMode="auto">
            <a:xfrm>
              <a:off x="2103438" y="-793750"/>
              <a:ext cx="547687" cy="547687"/>
            </a:xfrm>
            <a:custGeom>
              <a:avLst/>
              <a:gdLst>
                <a:gd name="T0" fmla="*/ 33 w 146"/>
                <a:gd name="T1" fmla="*/ 134 h 146"/>
                <a:gd name="T2" fmla="*/ 12 w 146"/>
                <a:gd name="T3" fmla="*/ 113 h 146"/>
                <a:gd name="T4" fmla="*/ 0 w 146"/>
                <a:gd name="T5" fmla="*/ 73 h 146"/>
                <a:gd name="T6" fmla="*/ 73 w 146"/>
                <a:gd name="T7" fmla="*/ 0 h 146"/>
                <a:gd name="T8" fmla="*/ 146 w 146"/>
                <a:gd name="T9" fmla="*/ 73 h 146"/>
                <a:gd name="T10" fmla="*/ 130 w 146"/>
                <a:gd name="T11" fmla="*/ 119 h 146"/>
                <a:gd name="T12" fmla="*/ 113 w 146"/>
                <a:gd name="T13" fmla="*/ 134 h 146"/>
                <a:gd name="T14" fmla="*/ 113 w 146"/>
                <a:gd name="T15" fmla="*/ 91 h 146"/>
                <a:gd name="T16" fmla="*/ 121 w 146"/>
                <a:gd name="T17" fmla="*/ 91 h 146"/>
                <a:gd name="T18" fmla="*/ 121 w 146"/>
                <a:gd name="T19" fmla="*/ 121 h 146"/>
                <a:gd name="T20" fmla="*/ 131 w 146"/>
                <a:gd name="T21" fmla="*/ 106 h 146"/>
                <a:gd name="T22" fmla="*/ 139 w 146"/>
                <a:gd name="T23" fmla="*/ 73 h 146"/>
                <a:gd name="T24" fmla="*/ 73 w 146"/>
                <a:gd name="T25" fmla="*/ 6 h 146"/>
                <a:gd name="T26" fmla="*/ 7 w 146"/>
                <a:gd name="T27" fmla="*/ 74 h 146"/>
                <a:gd name="T28" fmla="*/ 26 w 146"/>
                <a:gd name="T29" fmla="*/ 121 h 146"/>
                <a:gd name="T30" fmla="*/ 26 w 146"/>
                <a:gd name="T31" fmla="*/ 91 h 146"/>
                <a:gd name="T32" fmla="*/ 33 w 146"/>
                <a:gd name="T33" fmla="*/ 91 h 146"/>
                <a:gd name="T34" fmla="*/ 33 w 146"/>
                <a:gd name="T35" fmla="*/ 134 h 146"/>
                <a:gd name="T36" fmla="*/ 48 w 146"/>
                <a:gd name="T37" fmla="*/ 142 h 146"/>
                <a:gd name="T38" fmla="*/ 40 w 146"/>
                <a:gd name="T39" fmla="*/ 138 h 146"/>
                <a:gd name="T40" fmla="*/ 40 w 146"/>
                <a:gd name="T41" fmla="*/ 91 h 146"/>
                <a:gd name="T42" fmla="*/ 48 w 146"/>
                <a:gd name="T43" fmla="*/ 91 h 146"/>
                <a:gd name="T44" fmla="*/ 48 w 146"/>
                <a:gd name="T45" fmla="*/ 142 h 146"/>
                <a:gd name="T46" fmla="*/ 62 w 146"/>
                <a:gd name="T47" fmla="*/ 145 h 146"/>
                <a:gd name="T48" fmla="*/ 58 w 146"/>
                <a:gd name="T49" fmla="*/ 145 h 146"/>
                <a:gd name="T50" fmla="*/ 55 w 146"/>
                <a:gd name="T51" fmla="*/ 144 h 146"/>
                <a:gd name="T52" fmla="*/ 55 w 146"/>
                <a:gd name="T53" fmla="*/ 44 h 146"/>
                <a:gd name="T54" fmla="*/ 62 w 146"/>
                <a:gd name="T55" fmla="*/ 44 h 146"/>
                <a:gd name="T56" fmla="*/ 62 w 146"/>
                <a:gd name="T57" fmla="*/ 145 h 146"/>
                <a:gd name="T58" fmla="*/ 77 w 146"/>
                <a:gd name="T59" fmla="*/ 146 h 146"/>
                <a:gd name="T60" fmla="*/ 74 w 146"/>
                <a:gd name="T61" fmla="*/ 146 h 146"/>
                <a:gd name="T62" fmla="*/ 70 w 146"/>
                <a:gd name="T63" fmla="*/ 146 h 146"/>
                <a:gd name="T64" fmla="*/ 70 w 146"/>
                <a:gd name="T65" fmla="*/ 44 h 146"/>
                <a:gd name="T66" fmla="*/ 77 w 146"/>
                <a:gd name="T67" fmla="*/ 44 h 146"/>
                <a:gd name="T68" fmla="*/ 77 w 146"/>
                <a:gd name="T69" fmla="*/ 146 h 146"/>
                <a:gd name="T70" fmla="*/ 91 w 146"/>
                <a:gd name="T71" fmla="*/ 144 h 146"/>
                <a:gd name="T72" fmla="*/ 84 w 146"/>
                <a:gd name="T73" fmla="*/ 146 h 146"/>
                <a:gd name="T74" fmla="*/ 84 w 146"/>
                <a:gd name="T75" fmla="*/ 44 h 146"/>
                <a:gd name="T76" fmla="*/ 91 w 146"/>
                <a:gd name="T77" fmla="*/ 44 h 146"/>
                <a:gd name="T78" fmla="*/ 91 w 146"/>
                <a:gd name="T79" fmla="*/ 144 h 146"/>
                <a:gd name="T80" fmla="*/ 91 w 146"/>
                <a:gd name="T81" fmla="*/ 39 h 146"/>
                <a:gd name="T82" fmla="*/ 73 w 146"/>
                <a:gd name="T83" fmla="*/ 24 h 146"/>
                <a:gd name="T84" fmla="*/ 55 w 146"/>
                <a:gd name="T85" fmla="*/ 39 h 146"/>
                <a:gd name="T86" fmla="*/ 51 w 146"/>
                <a:gd name="T87" fmla="*/ 33 h 146"/>
                <a:gd name="T88" fmla="*/ 73 w 146"/>
                <a:gd name="T89" fmla="*/ 16 h 146"/>
                <a:gd name="T90" fmla="*/ 95 w 146"/>
                <a:gd name="T91" fmla="*/ 33 h 146"/>
                <a:gd name="T92" fmla="*/ 91 w 146"/>
                <a:gd name="T93" fmla="*/ 39 h 146"/>
                <a:gd name="T94" fmla="*/ 106 w 146"/>
                <a:gd name="T95" fmla="*/ 138 h 146"/>
                <a:gd name="T96" fmla="*/ 99 w 146"/>
                <a:gd name="T97" fmla="*/ 142 h 146"/>
                <a:gd name="T98" fmla="*/ 99 w 146"/>
                <a:gd name="T99" fmla="*/ 91 h 146"/>
                <a:gd name="T100" fmla="*/ 106 w 146"/>
                <a:gd name="T101" fmla="*/ 91 h 146"/>
                <a:gd name="T102" fmla="*/ 106 w 146"/>
                <a:gd name="T103" fmla="*/ 13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6" h="146">
                  <a:moveTo>
                    <a:pt x="33" y="134"/>
                  </a:moveTo>
                  <a:cubicBezTo>
                    <a:pt x="23" y="127"/>
                    <a:pt x="17" y="121"/>
                    <a:pt x="12" y="113"/>
                  </a:cubicBezTo>
                  <a:cubicBezTo>
                    <a:pt x="4" y="101"/>
                    <a:pt x="0" y="87"/>
                    <a:pt x="0" y="73"/>
                  </a:cubicBez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6" y="33"/>
                    <a:pt x="146" y="73"/>
                  </a:cubicBezTo>
                  <a:cubicBezTo>
                    <a:pt x="146" y="90"/>
                    <a:pt x="140" y="106"/>
                    <a:pt x="130" y="119"/>
                  </a:cubicBezTo>
                  <a:cubicBezTo>
                    <a:pt x="126" y="124"/>
                    <a:pt x="123" y="127"/>
                    <a:pt x="113" y="134"/>
                  </a:cubicBezTo>
                  <a:cubicBezTo>
                    <a:pt x="113" y="91"/>
                    <a:pt x="113" y="91"/>
                    <a:pt x="113" y="91"/>
                  </a:cubicBezTo>
                  <a:cubicBezTo>
                    <a:pt x="121" y="91"/>
                    <a:pt x="121" y="91"/>
                    <a:pt x="121" y="91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26" y="114"/>
                    <a:pt x="128" y="110"/>
                    <a:pt x="131" y="106"/>
                  </a:cubicBezTo>
                  <a:cubicBezTo>
                    <a:pt x="136" y="96"/>
                    <a:pt x="139" y="85"/>
                    <a:pt x="139" y="73"/>
                  </a:cubicBezTo>
                  <a:cubicBezTo>
                    <a:pt x="139" y="36"/>
                    <a:pt x="110" y="6"/>
                    <a:pt x="73" y="6"/>
                  </a:cubicBezTo>
                  <a:cubicBezTo>
                    <a:pt x="36" y="6"/>
                    <a:pt x="7" y="36"/>
                    <a:pt x="7" y="74"/>
                  </a:cubicBezTo>
                  <a:cubicBezTo>
                    <a:pt x="7" y="91"/>
                    <a:pt x="13" y="106"/>
                    <a:pt x="26" y="121"/>
                  </a:cubicBezTo>
                  <a:cubicBezTo>
                    <a:pt x="26" y="91"/>
                    <a:pt x="26" y="91"/>
                    <a:pt x="26" y="91"/>
                  </a:cubicBezTo>
                  <a:cubicBezTo>
                    <a:pt x="33" y="91"/>
                    <a:pt x="33" y="91"/>
                    <a:pt x="33" y="91"/>
                  </a:cubicBezTo>
                  <a:cubicBezTo>
                    <a:pt x="33" y="134"/>
                    <a:pt x="33" y="134"/>
                    <a:pt x="33" y="134"/>
                  </a:cubicBezTo>
                  <a:close/>
                  <a:moveTo>
                    <a:pt x="48" y="142"/>
                  </a:moveTo>
                  <a:cubicBezTo>
                    <a:pt x="46" y="141"/>
                    <a:pt x="43" y="140"/>
                    <a:pt x="40" y="138"/>
                  </a:cubicBezTo>
                  <a:cubicBezTo>
                    <a:pt x="40" y="91"/>
                    <a:pt x="40" y="91"/>
                    <a:pt x="40" y="91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48" y="142"/>
                    <a:pt x="48" y="142"/>
                    <a:pt x="48" y="142"/>
                  </a:cubicBezTo>
                  <a:close/>
                  <a:moveTo>
                    <a:pt x="62" y="145"/>
                  </a:moveTo>
                  <a:cubicBezTo>
                    <a:pt x="60" y="145"/>
                    <a:pt x="59" y="145"/>
                    <a:pt x="58" y="145"/>
                  </a:cubicBezTo>
                  <a:cubicBezTo>
                    <a:pt x="58" y="144"/>
                    <a:pt x="57" y="144"/>
                    <a:pt x="55" y="1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145"/>
                    <a:pt x="62" y="145"/>
                    <a:pt x="62" y="145"/>
                  </a:cubicBezTo>
                  <a:close/>
                  <a:moveTo>
                    <a:pt x="77" y="146"/>
                  </a:moveTo>
                  <a:cubicBezTo>
                    <a:pt x="76" y="146"/>
                    <a:pt x="75" y="146"/>
                    <a:pt x="74" y="146"/>
                  </a:cubicBezTo>
                  <a:cubicBezTo>
                    <a:pt x="72" y="146"/>
                    <a:pt x="71" y="146"/>
                    <a:pt x="70" y="146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146"/>
                    <a:pt x="77" y="146"/>
                    <a:pt x="77" y="146"/>
                  </a:cubicBezTo>
                  <a:close/>
                  <a:moveTo>
                    <a:pt x="91" y="144"/>
                  </a:moveTo>
                  <a:cubicBezTo>
                    <a:pt x="89" y="144"/>
                    <a:pt x="87" y="145"/>
                    <a:pt x="84" y="146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91" y="144"/>
                    <a:pt x="91" y="144"/>
                    <a:pt x="91" y="144"/>
                  </a:cubicBezTo>
                  <a:close/>
                  <a:moveTo>
                    <a:pt x="91" y="39"/>
                  </a:moveTo>
                  <a:cubicBezTo>
                    <a:pt x="73" y="24"/>
                    <a:pt x="73" y="24"/>
                    <a:pt x="73" y="24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1" y="39"/>
                    <a:pt x="91" y="39"/>
                    <a:pt x="91" y="39"/>
                  </a:cubicBezTo>
                  <a:close/>
                  <a:moveTo>
                    <a:pt x="106" y="138"/>
                  </a:moveTo>
                  <a:cubicBezTo>
                    <a:pt x="104" y="139"/>
                    <a:pt x="102" y="140"/>
                    <a:pt x="99" y="142"/>
                  </a:cubicBezTo>
                  <a:cubicBezTo>
                    <a:pt x="99" y="91"/>
                    <a:pt x="99" y="91"/>
                    <a:pt x="99" y="91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6" y="138"/>
                    <a:pt x="106" y="138"/>
                    <a:pt x="106" y="1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8"/>
            <p:cNvSpPr>
              <a:spLocks noEditPoints="1"/>
            </p:cNvSpPr>
            <p:nvPr/>
          </p:nvSpPr>
          <p:spPr bwMode="auto">
            <a:xfrm>
              <a:off x="3124200" y="-779463"/>
              <a:ext cx="449262" cy="509587"/>
            </a:xfrm>
            <a:custGeom>
              <a:avLst/>
              <a:gdLst>
                <a:gd name="T0" fmla="*/ 14 w 120"/>
                <a:gd name="T1" fmla="*/ 100 h 136"/>
                <a:gd name="T2" fmla="*/ 7 w 120"/>
                <a:gd name="T3" fmla="*/ 112 h 136"/>
                <a:gd name="T4" fmla="*/ 48 w 120"/>
                <a:gd name="T5" fmla="*/ 53 h 136"/>
                <a:gd name="T6" fmla="*/ 44 w 120"/>
                <a:gd name="T7" fmla="*/ 29 h 136"/>
                <a:gd name="T8" fmla="*/ 25 w 120"/>
                <a:gd name="T9" fmla="*/ 23 h 136"/>
                <a:gd name="T10" fmla="*/ 23 w 120"/>
                <a:gd name="T11" fmla="*/ 0 h 136"/>
                <a:gd name="T12" fmla="*/ 13 w 120"/>
                <a:gd name="T13" fmla="*/ 5 h 136"/>
                <a:gd name="T14" fmla="*/ 18 w 120"/>
                <a:gd name="T15" fmla="*/ 52 h 136"/>
                <a:gd name="T16" fmla="*/ 13 w 120"/>
                <a:gd name="T17" fmla="*/ 56 h 136"/>
                <a:gd name="T18" fmla="*/ 29 w 120"/>
                <a:gd name="T19" fmla="*/ 53 h 136"/>
                <a:gd name="T20" fmla="*/ 25 w 120"/>
                <a:gd name="T21" fmla="*/ 28 h 136"/>
                <a:gd name="T22" fmla="*/ 36 w 120"/>
                <a:gd name="T23" fmla="*/ 32 h 136"/>
                <a:gd name="T24" fmla="*/ 33 w 120"/>
                <a:gd name="T25" fmla="*/ 53 h 136"/>
                <a:gd name="T26" fmla="*/ 48 w 120"/>
                <a:gd name="T27" fmla="*/ 56 h 136"/>
                <a:gd name="T28" fmla="*/ 62 w 120"/>
                <a:gd name="T29" fmla="*/ 18 h 136"/>
                <a:gd name="T30" fmla="*/ 53 w 120"/>
                <a:gd name="T31" fmla="*/ 23 h 136"/>
                <a:gd name="T32" fmla="*/ 58 w 120"/>
                <a:gd name="T33" fmla="*/ 52 h 136"/>
                <a:gd name="T34" fmla="*/ 53 w 120"/>
                <a:gd name="T35" fmla="*/ 56 h 136"/>
                <a:gd name="T36" fmla="*/ 70 w 120"/>
                <a:gd name="T37" fmla="*/ 53 h 136"/>
                <a:gd name="T38" fmla="*/ 65 w 120"/>
                <a:gd name="T39" fmla="*/ 32 h 136"/>
                <a:gd name="T40" fmla="*/ 74 w 120"/>
                <a:gd name="T41" fmla="*/ 28 h 136"/>
                <a:gd name="T42" fmla="*/ 72 w 120"/>
                <a:gd name="T43" fmla="*/ 19 h 136"/>
                <a:gd name="T44" fmla="*/ 65 w 120"/>
                <a:gd name="T45" fmla="*/ 18 h 136"/>
                <a:gd name="T46" fmla="*/ 83 w 120"/>
                <a:gd name="T47" fmla="*/ 5 h 136"/>
                <a:gd name="T48" fmla="*/ 92 w 120"/>
                <a:gd name="T49" fmla="*/ 5 h 136"/>
                <a:gd name="T50" fmla="*/ 96 w 120"/>
                <a:gd name="T51" fmla="*/ 56 h 136"/>
                <a:gd name="T52" fmla="*/ 92 w 120"/>
                <a:gd name="T53" fmla="*/ 52 h 136"/>
                <a:gd name="T54" fmla="*/ 90 w 120"/>
                <a:gd name="T55" fmla="*/ 19 h 136"/>
                <a:gd name="T56" fmla="*/ 80 w 120"/>
                <a:gd name="T57" fmla="*/ 24 h 136"/>
                <a:gd name="T58" fmla="*/ 84 w 120"/>
                <a:gd name="T59" fmla="*/ 52 h 136"/>
                <a:gd name="T60" fmla="*/ 80 w 120"/>
                <a:gd name="T61" fmla="*/ 56 h 136"/>
                <a:gd name="T62" fmla="*/ 27 w 120"/>
                <a:gd name="T63" fmla="*/ 115 h 136"/>
                <a:gd name="T64" fmla="*/ 14 w 120"/>
                <a:gd name="T65" fmla="*/ 97 h 136"/>
                <a:gd name="T66" fmla="*/ 14 w 120"/>
                <a:gd name="T67" fmla="*/ 136 h 136"/>
                <a:gd name="T68" fmla="*/ 23 w 120"/>
                <a:gd name="T69" fmla="*/ 125 h 136"/>
                <a:gd name="T70" fmla="*/ 7 w 120"/>
                <a:gd name="T71" fmla="*/ 115 h 136"/>
                <a:gd name="T72" fmla="*/ 47 w 120"/>
                <a:gd name="T73" fmla="*/ 135 h 136"/>
                <a:gd name="T74" fmla="*/ 43 w 120"/>
                <a:gd name="T75" fmla="*/ 131 h 136"/>
                <a:gd name="T76" fmla="*/ 41 w 120"/>
                <a:gd name="T77" fmla="*/ 78 h 136"/>
                <a:gd name="T78" fmla="*/ 31 w 120"/>
                <a:gd name="T79" fmla="*/ 83 h 136"/>
                <a:gd name="T80" fmla="*/ 36 w 120"/>
                <a:gd name="T81" fmla="*/ 131 h 136"/>
                <a:gd name="T82" fmla="*/ 31 w 120"/>
                <a:gd name="T83" fmla="*/ 135 h 136"/>
                <a:gd name="T84" fmla="*/ 87 w 120"/>
                <a:gd name="T85" fmla="*/ 135 h 136"/>
                <a:gd name="T86" fmla="*/ 83 w 120"/>
                <a:gd name="T87" fmla="*/ 131 h 136"/>
                <a:gd name="T88" fmla="*/ 74 w 120"/>
                <a:gd name="T89" fmla="*/ 97 h 136"/>
                <a:gd name="T90" fmla="*/ 64 w 120"/>
                <a:gd name="T91" fmla="*/ 78 h 136"/>
                <a:gd name="T92" fmla="*/ 53 w 120"/>
                <a:gd name="T93" fmla="*/ 81 h 136"/>
                <a:gd name="T94" fmla="*/ 57 w 120"/>
                <a:gd name="T95" fmla="*/ 84 h 136"/>
                <a:gd name="T96" fmla="*/ 52 w 120"/>
                <a:gd name="T97" fmla="*/ 132 h 136"/>
                <a:gd name="T98" fmla="*/ 68 w 120"/>
                <a:gd name="T99" fmla="*/ 135 h 136"/>
                <a:gd name="T100" fmla="*/ 64 w 120"/>
                <a:gd name="T101" fmla="*/ 131 h 136"/>
                <a:gd name="T102" fmla="*/ 71 w 120"/>
                <a:gd name="T103" fmla="*/ 103 h 136"/>
                <a:gd name="T104" fmla="*/ 76 w 120"/>
                <a:gd name="T105" fmla="*/ 131 h 136"/>
                <a:gd name="T106" fmla="*/ 72 w 120"/>
                <a:gd name="T107" fmla="*/ 135 h 136"/>
                <a:gd name="T108" fmla="*/ 120 w 120"/>
                <a:gd name="T109" fmla="*/ 115 h 136"/>
                <a:gd name="T110" fmla="*/ 107 w 120"/>
                <a:gd name="T111" fmla="*/ 97 h 136"/>
                <a:gd name="T112" fmla="*/ 107 w 120"/>
                <a:gd name="T113" fmla="*/ 136 h 136"/>
                <a:gd name="T114" fmla="*/ 116 w 120"/>
                <a:gd name="T115" fmla="*/ 125 h 136"/>
                <a:gd name="T116" fmla="*/ 100 w 120"/>
                <a:gd name="T117" fmla="*/ 115 h 136"/>
                <a:gd name="T118" fmla="*/ 100 w 120"/>
                <a:gd name="T119" fmla="*/ 112 h 136"/>
                <a:gd name="T120" fmla="*/ 112 w 120"/>
                <a:gd name="T121" fmla="*/ 11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" h="136">
                  <a:moveTo>
                    <a:pt x="7" y="112"/>
                  </a:moveTo>
                  <a:cubicBezTo>
                    <a:pt x="8" y="104"/>
                    <a:pt x="10" y="100"/>
                    <a:pt x="14" y="100"/>
                  </a:cubicBezTo>
                  <a:cubicBezTo>
                    <a:pt x="17" y="100"/>
                    <a:pt x="19" y="104"/>
                    <a:pt x="19" y="112"/>
                  </a:cubicBezTo>
                  <a:cubicBezTo>
                    <a:pt x="7" y="112"/>
                    <a:pt x="7" y="112"/>
                    <a:pt x="7" y="112"/>
                  </a:cubicBezTo>
                  <a:close/>
                  <a:moveTo>
                    <a:pt x="48" y="56"/>
                  </a:moveTo>
                  <a:cubicBezTo>
                    <a:pt x="48" y="53"/>
                    <a:pt x="48" y="53"/>
                    <a:pt x="48" y="53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2"/>
                    <a:pt x="41" y="19"/>
                    <a:pt x="35" y="19"/>
                  </a:cubicBezTo>
                  <a:cubicBezTo>
                    <a:pt x="32" y="19"/>
                    <a:pt x="29" y="20"/>
                    <a:pt x="25" y="2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8" y="25"/>
                    <a:pt x="30" y="24"/>
                    <a:pt x="32" y="24"/>
                  </a:cubicBezTo>
                  <a:cubicBezTo>
                    <a:pt x="35" y="24"/>
                    <a:pt x="36" y="26"/>
                    <a:pt x="36" y="32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48" y="56"/>
                    <a:pt x="48" y="56"/>
                    <a:pt x="48" y="56"/>
                  </a:cubicBezTo>
                  <a:close/>
                  <a:moveTo>
                    <a:pt x="65" y="18"/>
                  </a:moveTo>
                  <a:cubicBezTo>
                    <a:pt x="62" y="18"/>
                    <a:pt x="62" y="18"/>
                    <a:pt x="62" y="18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5" y="30"/>
                    <a:pt x="67" y="27"/>
                    <a:pt x="70" y="26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6" y="26"/>
                    <a:pt x="76" y="25"/>
                    <a:pt x="76" y="23"/>
                  </a:cubicBezTo>
                  <a:cubicBezTo>
                    <a:pt x="76" y="21"/>
                    <a:pt x="75" y="19"/>
                    <a:pt x="72" y="19"/>
                  </a:cubicBezTo>
                  <a:cubicBezTo>
                    <a:pt x="69" y="19"/>
                    <a:pt x="68" y="20"/>
                    <a:pt x="65" y="26"/>
                  </a:cubicBezTo>
                  <a:cubicBezTo>
                    <a:pt x="65" y="18"/>
                    <a:pt x="65" y="18"/>
                    <a:pt x="65" y="18"/>
                  </a:cubicBezTo>
                  <a:close/>
                  <a:moveTo>
                    <a:pt x="88" y="0"/>
                  </a:moveTo>
                  <a:cubicBezTo>
                    <a:pt x="85" y="0"/>
                    <a:pt x="83" y="2"/>
                    <a:pt x="83" y="5"/>
                  </a:cubicBezTo>
                  <a:cubicBezTo>
                    <a:pt x="83" y="8"/>
                    <a:pt x="85" y="10"/>
                    <a:pt x="88" y="10"/>
                  </a:cubicBezTo>
                  <a:cubicBezTo>
                    <a:pt x="90" y="10"/>
                    <a:pt x="92" y="8"/>
                    <a:pt x="92" y="5"/>
                  </a:cubicBezTo>
                  <a:cubicBezTo>
                    <a:pt x="92" y="2"/>
                    <a:pt x="90" y="0"/>
                    <a:pt x="88" y="0"/>
                  </a:cubicBezTo>
                  <a:close/>
                  <a:moveTo>
                    <a:pt x="96" y="56"/>
                  </a:moveTo>
                  <a:cubicBezTo>
                    <a:pt x="96" y="53"/>
                    <a:pt x="96" y="53"/>
                    <a:pt x="96" y="53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19"/>
                    <a:pt x="92" y="19"/>
                    <a:pt x="92" y="19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80" y="21"/>
                    <a:pt x="80" y="21"/>
                    <a:pt x="80" y="21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0" y="53"/>
                    <a:pt x="80" y="53"/>
                    <a:pt x="80" y="53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96" y="56"/>
                    <a:pt x="96" y="56"/>
                    <a:pt x="96" y="56"/>
                  </a:cubicBezTo>
                  <a:close/>
                  <a:moveTo>
                    <a:pt x="27" y="115"/>
                  </a:moveTo>
                  <a:cubicBezTo>
                    <a:pt x="27" y="110"/>
                    <a:pt x="26" y="108"/>
                    <a:pt x="26" y="106"/>
                  </a:cubicBezTo>
                  <a:cubicBezTo>
                    <a:pt x="24" y="100"/>
                    <a:pt x="20" y="97"/>
                    <a:pt x="14" y="97"/>
                  </a:cubicBezTo>
                  <a:cubicBezTo>
                    <a:pt x="5" y="97"/>
                    <a:pt x="0" y="104"/>
                    <a:pt x="0" y="117"/>
                  </a:cubicBezTo>
                  <a:cubicBezTo>
                    <a:pt x="0" y="129"/>
                    <a:pt x="5" y="136"/>
                    <a:pt x="14" y="136"/>
                  </a:cubicBezTo>
                  <a:cubicBezTo>
                    <a:pt x="20" y="136"/>
                    <a:pt x="23" y="133"/>
                    <a:pt x="27" y="127"/>
                  </a:cubicBezTo>
                  <a:cubicBezTo>
                    <a:pt x="23" y="125"/>
                    <a:pt x="23" y="125"/>
                    <a:pt x="23" y="125"/>
                  </a:cubicBezTo>
                  <a:cubicBezTo>
                    <a:pt x="21" y="129"/>
                    <a:pt x="19" y="130"/>
                    <a:pt x="16" y="130"/>
                  </a:cubicBezTo>
                  <a:cubicBezTo>
                    <a:pt x="11" y="130"/>
                    <a:pt x="8" y="126"/>
                    <a:pt x="7" y="115"/>
                  </a:cubicBezTo>
                  <a:cubicBezTo>
                    <a:pt x="27" y="115"/>
                    <a:pt x="27" y="115"/>
                    <a:pt x="27" y="115"/>
                  </a:cubicBezTo>
                  <a:close/>
                  <a:moveTo>
                    <a:pt x="47" y="135"/>
                  </a:moveTo>
                  <a:cubicBezTo>
                    <a:pt x="47" y="132"/>
                    <a:pt x="47" y="132"/>
                    <a:pt x="47" y="132"/>
                  </a:cubicBezTo>
                  <a:cubicBezTo>
                    <a:pt x="43" y="131"/>
                    <a:pt x="43" y="131"/>
                    <a:pt x="43" y="131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6" y="131"/>
                    <a:pt x="36" y="131"/>
                    <a:pt x="36" y="131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31" y="135"/>
                    <a:pt x="31" y="135"/>
                    <a:pt x="31" y="135"/>
                  </a:cubicBezTo>
                  <a:cubicBezTo>
                    <a:pt x="47" y="135"/>
                    <a:pt x="47" y="135"/>
                    <a:pt x="47" y="135"/>
                  </a:cubicBezTo>
                  <a:close/>
                  <a:moveTo>
                    <a:pt x="87" y="135"/>
                  </a:moveTo>
                  <a:cubicBezTo>
                    <a:pt x="87" y="132"/>
                    <a:pt x="87" y="132"/>
                    <a:pt x="87" y="132"/>
                  </a:cubicBezTo>
                  <a:cubicBezTo>
                    <a:pt x="83" y="131"/>
                    <a:pt x="83" y="131"/>
                    <a:pt x="83" y="131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83" y="101"/>
                    <a:pt x="80" y="97"/>
                    <a:pt x="74" y="97"/>
                  </a:cubicBezTo>
                  <a:cubicBezTo>
                    <a:pt x="71" y="97"/>
                    <a:pt x="68" y="98"/>
                    <a:pt x="64" y="102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131"/>
                    <a:pt x="57" y="131"/>
                    <a:pt x="57" y="131"/>
                  </a:cubicBezTo>
                  <a:cubicBezTo>
                    <a:pt x="52" y="132"/>
                    <a:pt x="52" y="132"/>
                    <a:pt x="52" y="132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8" y="132"/>
                    <a:pt x="68" y="132"/>
                    <a:pt x="68" y="132"/>
                  </a:cubicBezTo>
                  <a:cubicBezTo>
                    <a:pt x="64" y="131"/>
                    <a:pt x="64" y="131"/>
                    <a:pt x="64" y="131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7" y="104"/>
                    <a:pt x="69" y="103"/>
                    <a:pt x="71" y="103"/>
                  </a:cubicBezTo>
                  <a:cubicBezTo>
                    <a:pt x="74" y="103"/>
                    <a:pt x="76" y="105"/>
                    <a:pt x="76" y="110"/>
                  </a:cubicBezTo>
                  <a:cubicBezTo>
                    <a:pt x="76" y="131"/>
                    <a:pt x="76" y="131"/>
                    <a:pt x="76" y="131"/>
                  </a:cubicBezTo>
                  <a:cubicBezTo>
                    <a:pt x="72" y="132"/>
                    <a:pt x="72" y="132"/>
                    <a:pt x="72" y="132"/>
                  </a:cubicBezTo>
                  <a:cubicBezTo>
                    <a:pt x="72" y="135"/>
                    <a:pt x="72" y="135"/>
                    <a:pt x="72" y="135"/>
                  </a:cubicBezTo>
                  <a:cubicBezTo>
                    <a:pt x="87" y="135"/>
                    <a:pt x="87" y="135"/>
                    <a:pt x="87" y="135"/>
                  </a:cubicBezTo>
                  <a:close/>
                  <a:moveTo>
                    <a:pt x="120" y="115"/>
                  </a:moveTo>
                  <a:cubicBezTo>
                    <a:pt x="119" y="110"/>
                    <a:pt x="119" y="108"/>
                    <a:pt x="119" y="106"/>
                  </a:cubicBezTo>
                  <a:cubicBezTo>
                    <a:pt x="117" y="100"/>
                    <a:pt x="113" y="97"/>
                    <a:pt x="107" y="97"/>
                  </a:cubicBezTo>
                  <a:cubicBezTo>
                    <a:pt x="98" y="97"/>
                    <a:pt x="92" y="104"/>
                    <a:pt x="92" y="117"/>
                  </a:cubicBezTo>
                  <a:cubicBezTo>
                    <a:pt x="92" y="129"/>
                    <a:pt x="98" y="136"/>
                    <a:pt x="107" y="136"/>
                  </a:cubicBezTo>
                  <a:cubicBezTo>
                    <a:pt x="113" y="136"/>
                    <a:pt x="116" y="133"/>
                    <a:pt x="120" y="127"/>
                  </a:cubicBezTo>
                  <a:cubicBezTo>
                    <a:pt x="116" y="125"/>
                    <a:pt x="116" y="125"/>
                    <a:pt x="116" y="125"/>
                  </a:cubicBezTo>
                  <a:cubicBezTo>
                    <a:pt x="114" y="129"/>
                    <a:pt x="112" y="130"/>
                    <a:pt x="109" y="130"/>
                  </a:cubicBezTo>
                  <a:cubicBezTo>
                    <a:pt x="103" y="130"/>
                    <a:pt x="101" y="126"/>
                    <a:pt x="100" y="115"/>
                  </a:cubicBezTo>
                  <a:cubicBezTo>
                    <a:pt x="120" y="115"/>
                    <a:pt x="120" y="115"/>
                    <a:pt x="120" y="115"/>
                  </a:cubicBezTo>
                  <a:close/>
                  <a:moveTo>
                    <a:pt x="100" y="112"/>
                  </a:moveTo>
                  <a:cubicBezTo>
                    <a:pt x="101" y="104"/>
                    <a:pt x="103" y="100"/>
                    <a:pt x="106" y="100"/>
                  </a:cubicBezTo>
                  <a:cubicBezTo>
                    <a:pt x="110" y="100"/>
                    <a:pt x="112" y="104"/>
                    <a:pt x="112" y="112"/>
                  </a:cubicBezTo>
                  <a:cubicBezTo>
                    <a:pt x="100" y="112"/>
                    <a:pt x="100" y="112"/>
                    <a:pt x="100" y="1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 9"/>
            <p:cNvSpPr>
              <a:spLocks noEditPoints="1"/>
            </p:cNvSpPr>
            <p:nvPr/>
          </p:nvSpPr>
          <p:spPr bwMode="auto">
            <a:xfrm>
              <a:off x="3506788" y="-711200"/>
              <a:ext cx="490537" cy="438150"/>
            </a:xfrm>
            <a:custGeom>
              <a:avLst/>
              <a:gdLst>
                <a:gd name="T0" fmla="*/ 53 w 131"/>
                <a:gd name="T1" fmla="*/ 22 h 117"/>
                <a:gd name="T2" fmla="*/ 34 w 131"/>
                <a:gd name="T3" fmla="*/ 38 h 117"/>
                <a:gd name="T4" fmla="*/ 30 w 131"/>
                <a:gd name="T5" fmla="*/ 10 h 117"/>
                <a:gd name="T6" fmla="*/ 11 w 131"/>
                <a:gd name="T7" fmla="*/ 0 h 117"/>
                <a:gd name="T8" fmla="*/ 0 w 131"/>
                <a:gd name="T9" fmla="*/ 6 h 117"/>
                <a:gd name="T10" fmla="*/ 0 w 131"/>
                <a:gd name="T11" fmla="*/ 35 h 117"/>
                <a:gd name="T12" fmla="*/ 15 w 131"/>
                <a:gd name="T13" fmla="*/ 35 h 117"/>
                <a:gd name="T14" fmla="*/ 19 w 131"/>
                <a:gd name="T15" fmla="*/ 6 h 117"/>
                <a:gd name="T16" fmla="*/ 19 w 131"/>
                <a:gd name="T17" fmla="*/ 35 h 117"/>
                <a:gd name="T18" fmla="*/ 70 w 131"/>
                <a:gd name="T19" fmla="*/ 6 h 117"/>
                <a:gd name="T20" fmla="*/ 63 w 131"/>
                <a:gd name="T21" fmla="*/ 1 h 117"/>
                <a:gd name="T22" fmla="*/ 53 w 131"/>
                <a:gd name="T23" fmla="*/ 0 h 117"/>
                <a:gd name="T24" fmla="*/ 39 w 131"/>
                <a:gd name="T25" fmla="*/ 31 h 117"/>
                <a:gd name="T26" fmla="*/ 51 w 131"/>
                <a:gd name="T27" fmla="*/ 52 h 117"/>
                <a:gd name="T28" fmla="*/ 50 w 131"/>
                <a:gd name="T29" fmla="*/ 30 h 117"/>
                <a:gd name="T30" fmla="*/ 54 w 131"/>
                <a:gd name="T31" fmla="*/ 25 h 117"/>
                <a:gd name="T32" fmla="*/ 70 w 131"/>
                <a:gd name="T33" fmla="*/ 6 h 117"/>
                <a:gd name="T34" fmla="*/ 53 w 131"/>
                <a:gd name="T35" fmla="*/ 48 h 117"/>
                <a:gd name="T36" fmla="*/ 102 w 131"/>
                <a:gd name="T37" fmla="*/ 19 h 117"/>
                <a:gd name="T38" fmla="*/ 89 w 131"/>
                <a:gd name="T39" fmla="*/ 39 h 117"/>
                <a:gd name="T40" fmla="*/ 91 w 131"/>
                <a:gd name="T41" fmla="*/ 34 h 117"/>
                <a:gd name="T42" fmla="*/ 82 w 131"/>
                <a:gd name="T43" fmla="*/ 15 h 117"/>
                <a:gd name="T44" fmla="*/ 82 w 131"/>
                <a:gd name="T45" fmla="*/ 15 h 117"/>
                <a:gd name="T46" fmla="*/ 108 w 131"/>
                <a:gd name="T47" fmla="*/ 3 h 117"/>
                <a:gd name="T48" fmla="*/ 112 w 131"/>
                <a:gd name="T49" fmla="*/ 34 h 117"/>
                <a:gd name="T50" fmla="*/ 125 w 131"/>
                <a:gd name="T51" fmla="*/ 38 h 117"/>
                <a:gd name="T52" fmla="*/ 120 w 131"/>
                <a:gd name="T53" fmla="*/ 14 h 117"/>
                <a:gd name="T54" fmla="*/ 131 w 131"/>
                <a:gd name="T55" fmla="*/ 5 h 117"/>
                <a:gd name="T56" fmla="*/ 120 w 131"/>
                <a:gd name="T57" fmla="*/ 0 h 117"/>
                <a:gd name="T58" fmla="*/ 31 w 131"/>
                <a:gd name="T59" fmla="*/ 70 h 117"/>
                <a:gd name="T60" fmla="*/ 39 w 131"/>
                <a:gd name="T61" fmla="*/ 117 h 117"/>
                <a:gd name="T62" fmla="*/ 35 w 131"/>
                <a:gd name="T63" fmla="*/ 79 h 117"/>
                <a:gd name="T64" fmla="*/ 24 w 131"/>
                <a:gd name="T65" fmla="*/ 84 h 117"/>
                <a:gd name="T66" fmla="*/ 24 w 131"/>
                <a:gd name="T67" fmla="*/ 114 h 117"/>
                <a:gd name="T68" fmla="*/ 100 w 131"/>
                <a:gd name="T69" fmla="*/ 114 h 117"/>
                <a:gd name="T70" fmla="*/ 86 w 131"/>
                <a:gd name="T71" fmla="*/ 79 h 117"/>
                <a:gd name="T72" fmla="*/ 56 w 131"/>
                <a:gd name="T73" fmla="*/ 84 h 117"/>
                <a:gd name="T74" fmla="*/ 45 w 131"/>
                <a:gd name="T75" fmla="*/ 81 h 117"/>
                <a:gd name="T76" fmla="*/ 49 w 131"/>
                <a:gd name="T77" fmla="*/ 113 h 117"/>
                <a:gd name="T78" fmla="*/ 60 w 131"/>
                <a:gd name="T79" fmla="*/ 117 h 117"/>
                <a:gd name="T80" fmla="*/ 57 w 131"/>
                <a:gd name="T81" fmla="*/ 88 h 117"/>
                <a:gd name="T82" fmla="*/ 69 w 131"/>
                <a:gd name="T83" fmla="*/ 113 h 117"/>
                <a:gd name="T84" fmla="*/ 80 w 131"/>
                <a:gd name="T85" fmla="*/ 117 h 117"/>
                <a:gd name="T86" fmla="*/ 76 w 131"/>
                <a:gd name="T87" fmla="*/ 88 h 117"/>
                <a:gd name="T88" fmla="*/ 88 w 131"/>
                <a:gd name="T89" fmla="*/ 113 h 117"/>
                <a:gd name="T90" fmla="*/ 100 w 131"/>
                <a:gd name="T91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1" h="117">
                  <a:moveTo>
                    <a:pt x="53" y="3"/>
                  </a:moveTo>
                  <a:cubicBezTo>
                    <a:pt x="57" y="3"/>
                    <a:pt x="59" y="6"/>
                    <a:pt x="59" y="13"/>
                  </a:cubicBezTo>
                  <a:cubicBezTo>
                    <a:pt x="59" y="19"/>
                    <a:pt x="57" y="22"/>
                    <a:pt x="53" y="22"/>
                  </a:cubicBezTo>
                  <a:cubicBezTo>
                    <a:pt x="50" y="22"/>
                    <a:pt x="48" y="19"/>
                    <a:pt x="48" y="12"/>
                  </a:cubicBezTo>
                  <a:cubicBezTo>
                    <a:pt x="48" y="6"/>
                    <a:pt x="50" y="3"/>
                    <a:pt x="53" y="3"/>
                  </a:cubicBezTo>
                  <a:close/>
                  <a:moveTo>
                    <a:pt x="34" y="38"/>
                  </a:moveTo>
                  <a:cubicBezTo>
                    <a:pt x="34" y="35"/>
                    <a:pt x="34" y="35"/>
                    <a:pt x="34" y="35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4"/>
                    <a:pt x="27" y="0"/>
                    <a:pt x="21" y="0"/>
                  </a:cubicBezTo>
                  <a:cubicBezTo>
                    <a:pt x="18" y="0"/>
                    <a:pt x="16" y="1"/>
                    <a:pt x="11" y="5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4" y="7"/>
                    <a:pt x="16" y="6"/>
                    <a:pt x="19" y="6"/>
                  </a:cubicBezTo>
                  <a:cubicBezTo>
                    <a:pt x="22" y="6"/>
                    <a:pt x="23" y="8"/>
                    <a:pt x="23" y="12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34" y="38"/>
                    <a:pt x="34" y="38"/>
                    <a:pt x="34" y="38"/>
                  </a:cubicBezTo>
                  <a:close/>
                  <a:moveTo>
                    <a:pt x="70" y="6"/>
                  </a:moveTo>
                  <a:cubicBezTo>
                    <a:pt x="70" y="1"/>
                    <a:pt x="70" y="1"/>
                    <a:pt x="70" y="1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2" y="1"/>
                    <a:pt x="61" y="1"/>
                    <a:pt x="61" y="1"/>
                  </a:cubicBezTo>
                  <a:cubicBezTo>
                    <a:pt x="60" y="1"/>
                    <a:pt x="59" y="1"/>
                    <a:pt x="58" y="1"/>
                  </a:cubicBezTo>
                  <a:cubicBezTo>
                    <a:pt x="55" y="0"/>
                    <a:pt x="54" y="0"/>
                    <a:pt x="53" y="0"/>
                  </a:cubicBezTo>
                  <a:cubicBezTo>
                    <a:pt x="46" y="0"/>
                    <a:pt x="40" y="6"/>
                    <a:pt x="40" y="13"/>
                  </a:cubicBezTo>
                  <a:cubicBezTo>
                    <a:pt x="40" y="18"/>
                    <a:pt x="42" y="20"/>
                    <a:pt x="46" y="23"/>
                  </a:cubicBezTo>
                  <a:cubicBezTo>
                    <a:pt x="41" y="26"/>
                    <a:pt x="39" y="29"/>
                    <a:pt x="39" y="31"/>
                  </a:cubicBezTo>
                  <a:cubicBezTo>
                    <a:pt x="39" y="34"/>
                    <a:pt x="41" y="35"/>
                    <a:pt x="44" y="36"/>
                  </a:cubicBezTo>
                  <a:cubicBezTo>
                    <a:pt x="39" y="39"/>
                    <a:pt x="38" y="41"/>
                    <a:pt x="38" y="44"/>
                  </a:cubicBezTo>
                  <a:cubicBezTo>
                    <a:pt x="38" y="49"/>
                    <a:pt x="43" y="52"/>
                    <a:pt x="51" y="52"/>
                  </a:cubicBezTo>
                  <a:cubicBezTo>
                    <a:pt x="63" y="52"/>
                    <a:pt x="70" y="47"/>
                    <a:pt x="70" y="39"/>
                  </a:cubicBezTo>
                  <a:cubicBezTo>
                    <a:pt x="70" y="33"/>
                    <a:pt x="66" y="30"/>
                    <a:pt x="59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48" y="29"/>
                    <a:pt x="47" y="29"/>
                    <a:pt x="47" y="28"/>
                  </a:cubicBezTo>
                  <a:cubicBezTo>
                    <a:pt x="47" y="27"/>
                    <a:pt x="48" y="26"/>
                    <a:pt x="50" y="25"/>
                  </a:cubicBezTo>
                  <a:cubicBezTo>
                    <a:pt x="51" y="25"/>
                    <a:pt x="52" y="25"/>
                    <a:pt x="54" y="25"/>
                  </a:cubicBezTo>
                  <a:cubicBezTo>
                    <a:pt x="61" y="25"/>
                    <a:pt x="67" y="20"/>
                    <a:pt x="67" y="13"/>
                  </a:cubicBezTo>
                  <a:cubicBezTo>
                    <a:pt x="67" y="10"/>
                    <a:pt x="66" y="8"/>
                    <a:pt x="64" y="6"/>
                  </a:cubicBezTo>
                  <a:cubicBezTo>
                    <a:pt x="70" y="6"/>
                    <a:pt x="70" y="6"/>
                    <a:pt x="70" y="6"/>
                  </a:cubicBezTo>
                  <a:close/>
                  <a:moveTo>
                    <a:pt x="48" y="37"/>
                  </a:moveTo>
                  <a:cubicBezTo>
                    <a:pt x="63" y="38"/>
                    <a:pt x="64" y="38"/>
                    <a:pt x="64" y="42"/>
                  </a:cubicBezTo>
                  <a:cubicBezTo>
                    <a:pt x="64" y="45"/>
                    <a:pt x="60" y="48"/>
                    <a:pt x="53" y="48"/>
                  </a:cubicBezTo>
                  <a:cubicBezTo>
                    <a:pt x="48" y="48"/>
                    <a:pt x="45" y="46"/>
                    <a:pt x="45" y="43"/>
                  </a:cubicBezTo>
                  <a:cubicBezTo>
                    <a:pt x="45" y="40"/>
                    <a:pt x="46" y="39"/>
                    <a:pt x="48" y="37"/>
                  </a:cubicBezTo>
                  <a:close/>
                  <a:moveTo>
                    <a:pt x="102" y="19"/>
                  </a:moveTo>
                  <a:cubicBezTo>
                    <a:pt x="102" y="6"/>
                    <a:pt x="97" y="0"/>
                    <a:pt x="89" y="0"/>
                  </a:cubicBezTo>
                  <a:cubicBezTo>
                    <a:pt x="80" y="0"/>
                    <a:pt x="75" y="8"/>
                    <a:pt x="75" y="21"/>
                  </a:cubicBezTo>
                  <a:cubicBezTo>
                    <a:pt x="75" y="33"/>
                    <a:pt x="80" y="39"/>
                    <a:pt x="89" y="39"/>
                  </a:cubicBezTo>
                  <a:cubicBezTo>
                    <a:pt x="95" y="39"/>
                    <a:pt x="98" y="37"/>
                    <a:pt x="102" y="30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6" y="32"/>
                    <a:pt x="94" y="34"/>
                    <a:pt x="91" y="34"/>
                  </a:cubicBezTo>
                  <a:cubicBezTo>
                    <a:pt x="86" y="34"/>
                    <a:pt x="83" y="29"/>
                    <a:pt x="82" y="19"/>
                  </a:cubicBezTo>
                  <a:cubicBezTo>
                    <a:pt x="102" y="19"/>
                    <a:pt x="102" y="19"/>
                    <a:pt x="102" y="19"/>
                  </a:cubicBezTo>
                  <a:close/>
                  <a:moveTo>
                    <a:pt x="82" y="15"/>
                  </a:moveTo>
                  <a:cubicBezTo>
                    <a:pt x="83" y="7"/>
                    <a:pt x="85" y="4"/>
                    <a:pt x="88" y="4"/>
                  </a:cubicBezTo>
                  <a:cubicBezTo>
                    <a:pt x="92" y="4"/>
                    <a:pt x="94" y="7"/>
                    <a:pt x="94" y="15"/>
                  </a:cubicBezTo>
                  <a:cubicBezTo>
                    <a:pt x="82" y="15"/>
                    <a:pt x="82" y="15"/>
                    <a:pt x="82" y="15"/>
                  </a:cubicBezTo>
                  <a:close/>
                  <a:moveTo>
                    <a:pt x="120" y="0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108" y="3"/>
                    <a:pt x="108" y="3"/>
                    <a:pt x="108" y="3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2" y="34"/>
                    <a:pt x="112" y="34"/>
                    <a:pt x="112" y="34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5" y="35"/>
                    <a:pt x="125" y="35"/>
                    <a:pt x="125" y="35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14"/>
                    <a:pt x="120" y="14"/>
                    <a:pt x="120" y="14"/>
                  </a:cubicBezTo>
                  <a:cubicBezTo>
                    <a:pt x="120" y="12"/>
                    <a:pt x="122" y="9"/>
                    <a:pt x="124" y="8"/>
                  </a:cubicBezTo>
                  <a:cubicBezTo>
                    <a:pt x="128" y="10"/>
                    <a:pt x="128" y="10"/>
                    <a:pt x="128" y="10"/>
                  </a:cubicBezTo>
                  <a:cubicBezTo>
                    <a:pt x="130" y="8"/>
                    <a:pt x="131" y="7"/>
                    <a:pt x="131" y="5"/>
                  </a:cubicBezTo>
                  <a:cubicBezTo>
                    <a:pt x="131" y="3"/>
                    <a:pt x="130" y="1"/>
                    <a:pt x="127" y="1"/>
                  </a:cubicBezTo>
                  <a:cubicBezTo>
                    <a:pt x="124" y="1"/>
                    <a:pt x="123" y="2"/>
                    <a:pt x="120" y="8"/>
                  </a:cubicBezTo>
                  <a:cubicBezTo>
                    <a:pt x="120" y="0"/>
                    <a:pt x="120" y="0"/>
                    <a:pt x="120" y="0"/>
                  </a:cubicBezTo>
                  <a:close/>
                  <a:moveTo>
                    <a:pt x="31" y="60"/>
                  </a:moveTo>
                  <a:cubicBezTo>
                    <a:pt x="28" y="60"/>
                    <a:pt x="26" y="63"/>
                    <a:pt x="26" y="65"/>
                  </a:cubicBezTo>
                  <a:cubicBezTo>
                    <a:pt x="26" y="68"/>
                    <a:pt x="28" y="70"/>
                    <a:pt x="31" y="70"/>
                  </a:cubicBezTo>
                  <a:cubicBezTo>
                    <a:pt x="34" y="70"/>
                    <a:pt x="36" y="68"/>
                    <a:pt x="36" y="65"/>
                  </a:cubicBezTo>
                  <a:cubicBezTo>
                    <a:pt x="36" y="63"/>
                    <a:pt x="34" y="60"/>
                    <a:pt x="31" y="60"/>
                  </a:cubicBezTo>
                  <a:close/>
                  <a:moveTo>
                    <a:pt x="39" y="117"/>
                  </a:moveTo>
                  <a:cubicBezTo>
                    <a:pt x="39" y="114"/>
                    <a:pt x="39" y="114"/>
                    <a:pt x="39" y="114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24" y="82"/>
                    <a:pt x="24" y="82"/>
                    <a:pt x="24" y="82"/>
                  </a:cubicBezTo>
                  <a:cubicBezTo>
                    <a:pt x="24" y="84"/>
                    <a:pt x="24" y="84"/>
                    <a:pt x="24" y="84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24" y="114"/>
                    <a:pt x="24" y="114"/>
                    <a:pt x="24" y="114"/>
                  </a:cubicBezTo>
                  <a:cubicBezTo>
                    <a:pt x="24" y="117"/>
                    <a:pt x="24" y="117"/>
                    <a:pt x="24" y="117"/>
                  </a:cubicBezTo>
                  <a:cubicBezTo>
                    <a:pt x="100" y="117"/>
                    <a:pt x="100" y="117"/>
                    <a:pt x="100" y="117"/>
                  </a:cubicBezTo>
                  <a:cubicBezTo>
                    <a:pt x="100" y="114"/>
                    <a:pt x="100" y="114"/>
                    <a:pt x="100" y="114"/>
                  </a:cubicBezTo>
                  <a:cubicBezTo>
                    <a:pt x="95" y="113"/>
                    <a:pt x="95" y="113"/>
                    <a:pt x="95" y="113"/>
                  </a:cubicBezTo>
                  <a:cubicBezTo>
                    <a:pt x="95" y="90"/>
                    <a:pt x="95" y="90"/>
                    <a:pt x="95" y="90"/>
                  </a:cubicBezTo>
                  <a:cubicBezTo>
                    <a:pt x="95" y="82"/>
                    <a:pt x="93" y="79"/>
                    <a:pt x="86" y="79"/>
                  </a:cubicBezTo>
                  <a:cubicBezTo>
                    <a:pt x="82" y="79"/>
                    <a:pt x="79" y="81"/>
                    <a:pt x="75" y="84"/>
                  </a:cubicBezTo>
                  <a:cubicBezTo>
                    <a:pt x="73" y="81"/>
                    <a:pt x="71" y="79"/>
                    <a:pt x="67" y="79"/>
                  </a:cubicBezTo>
                  <a:cubicBezTo>
                    <a:pt x="63" y="79"/>
                    <a:pt x="60" y="81"/>
                    <a:pt x="56" y="84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113"/>
                    <a:pt x="49" y="113"/>
                    <a:pt x="49" y="113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45" y="117"/>
                    <a:pt x="45" y="117"/>
                    <a:pt x="45" y="117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57" y="113"/>
                    <a:pt x="57" y="113"/>
                    <a:pt x="57" y="113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9" y="85"/>
                    <a:pt x="61" y="84"/>
                    <a:pt x="64" y="84"/>
                  </a:cubicBezTo>
                  <a:cubicBezTo>
                    <a:pt x="67" y="84"/>
                    <a:pt x="69" y="87"/>
                    <a:pt x="69" y="91"/>
                  </a:cubicBezTo>
                  <a:cubicBezTo>
                    <a:pt x="69" y="113"/>
                    <a:pt x="69" y="113"/>
                    <a:pt x="69" y="113"/>
                  </a:cubicBezTo>
                  <a:cubicBezTo>
                    <a:pt x="64" y="114"/>
                    <a:pt x="64" y="114"/>
                    <a:pt x="64" y="114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80" y="117"/>
                    <a:pt x="80" y="117"/>
                    <a:pt x="80" y="117"/>
                  </a:cubicBezTo>
                  <a:cubicBezTo>
                    <a:pt x="80" y="114"/>
                    <a:pt x="80" y="114"/>
                    <a:pt x="80" y="114"/>
                  </a:cubicBezTo>
                  <a:cubicBezTo>
                    <a:pt x="76" y="113"/>
                    <a:pt x="76" y="113"/>
                    <a:pt x="76" y="113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9" y="85"/>
                    <a:pt x="81" y="84"/>
                    <a:pt x="83" y="84"/>
                  </a:cubicBezTo>
                  <a:cubicBezTo>
                    <a:pt x="86" y="84"/>
                    <a:pt x="88" y="86"/>
                    <a:pt x="88" y="92"/>
                  </a:cubicBezTo>
                  <a:cubicBezTo>
                    <a:pt x="88" y="113"/>
                    <a:pt x="88" y="113"/>
                    <a:pt x="88" y="113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7"/>
                    <a:pt x="84" y="117"/>
                    <a:pt x="84" y="117"/>
                  </a:cubicBezTo>
                  <a:cubicBezTo>
                    <a:pt x="100" y="117"/>
                    <a:pt x="100" y="117"/>
                    <a:pt x="100" y="117"/>
                  </a:cubicBezTo>
                  <a:cubicBezTo>
                    <a:pt x="39" y="117"/>
                    <a:pt x="39" y="117"/>
                    <a:pt x="39" y="1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7" name="Slide Number"/>
          <p:cNvSpPr txBox="1">
            <a:spLocks/>
          </p:cNvSpPr>
          <p:nvPr/>
        </p:nvSpPr>
        <p:spPr bwMode="auto">
          <a:xfrm>
            <a:off x="8802412" y="6513631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21426" y="2937165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5056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81406" y="542633"/>
            <a:ext cx="878776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auto">
          <a:xfrm>
            <a:off x="175055" y="6193943"/>
            <a:ext cx="8787763" cy="364756"/>
            <a:chOff x="171451" y="6180354"/>
            <a:chExt cx="8612313" cy="35749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71451" y="6180354"/>
              <a:ext cx="861231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5676" indent="-10567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71451" y="6383961"/>
              <a:ext cx="711989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18030" indent="-618030" defTabSz="902934" fontAlgn="base">
                <a:spcBef>
                  <a:spcPct val="0"/>
                </a:spcBef>
                <a:spcAft>
                  <a:spcPct val="0"/>
                </a:spcAft>
                <a:tabLst>
                  <a:tab pos="618030" algn="l"/>
                </a:tabLst>
              </a:pPr>
              <a:r>
                <a:rPr lang="en-US" sz="1000" dirty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21426" y="2339194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8" name="LegendBoxes" hidden="1"/>
          <p:cNvGrpSpPr>
            <a:grpSpLocks/>
          </p:cNvGrpSpPr>
          <p:nvPr/>
        </p:nvGrpSpPr>
        <p:grpSpPr bwMode="auto">
          <a:xfrm>
            <a:off x="8194372" y="275426"/>
            <a:ext cx="774702" cy="1001714"/>
            <a:chOff x="4936" y="176"/>
            <a:chExt cx="488" cy="631"/>
          </a:xfrm>
        </p:grpSpPr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971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30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971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32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971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34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35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971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36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</p:grpSp>
      <p:grpSp>
        <p:nvGrpSpPr>
          <p:cNvPr id="37" name="LegendLines" hidden="1"/>
          <p:cNvGrpSpPr>
            <a:grpSpLocks/>
          </p:cNvGrpSpPr>
          <p:nvPr/>
        </p:nvGrpSpPr>
        <p:grpSpPr bwMode="auto">
          <a:xfrm>
            <a:off x="7886492" y="275426"/>
            <a:ext cx="1082677" cy="735014"/>
            <a:chOff x="4750" y="176"/>
            <a:chExt cx="682" cy="463"/>
          </a:xfrm>
        </p:grpSpPr>
        <p:sp>
          <p:nvSpPr>
            <p:cNvPr id="38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39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40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Calibri" pitchFamily="34" charset="0"/>
              </a:endParaRPr>
            </a:p>
          </p:txBody>
        </p: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971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971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971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</p:grpSp>
      <p:grpSp>
        <p:nvGrpSpPr>
          <p:cNvPr id="44" name="McKSticker" hidden="1"/>
          <p:cNvGrpSpPr/>
          <p:nvPr/>
        </p:nvGrpSpPr>
        <p:grpSpPr bwMode="auto">
          <a:xfrm>
            <a:off x="7880435" y="275426"/>
            <a:ext cx="1088630" cy="216680"/>
            <a:chOff x="7652146" y="285750"/>
            <a:chExt cx="1088629" cy="216680"/>
          </a:xfrm>
        </p:grpSpPr>
        <p:sp>
          <p:nvSpPr>
            <p:cNvPr id="45" name="StickerRectangle"/>
            <p:cNvSpPr>
              <a:spLocks noChangeArrowheads="1"/>
            </p:cNvSpPr>
            <p:nvPr/>
          </p:nvSpPr>
          <p:spPr bwMode="auto">
            <a:xfrm>
              <a:off x="7652146" y="285750"/>
              <a:ext cx="1088629" cy="21668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84971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808080"/>
                  </a:solidFill>
                  <a:cs typeface="Calibri" pitchFamily="34" charset="0"/>
                </a:rPr>
                <a:t>PRELIMINARY</a:t>
              </a:r>
            </a:p>
          </p:txBody>
        </p:sp>
        <p:cxnSp>
          <p:nvCxnSpPr>
            <p:cNvPr id="46" name="AutoShape 31"/>
            <p:cNvCxnSpPr>
              <a:cxnSpLocks noChangeShapeType="1"/>
              <a:stCxn id="45" idx="2"/>
              <a:endCxn id="45" idx="4"/>
            </p:cNvCxnSpPr>
            <p:nvPr/>
          </p:nvCxnSpPr>
          <p:spPr bwMode="auto">
            <a:xfrm>
              <a:off x="7652146" y="285750"/>
              <a:ext cx="0" cy="21668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7" name="AutoShape 32"/>
            <p:cNvCxnSpPr>
              <a:cxnSpLocks noChangeShapeType="1"/>
              <a:stCxn id="45" idx="4"/>
              <a:endCxn id="45" idx="6"/>
            </p:cNvCxnSpPr>
            <p:nvPr/>
          </p:nvCxnSpPr>
          <p:spPr bwMode="auto">
            <a:xfrm>
              <a:off x="7652146" y="502430"/>
              <a:ext cx="108862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8" name="LegendMoons" hidden="1"/>
          <p:cNvGrpSpPr/>
          <p:nvPr/>
        </p:nvGrpSpPr>
        <p:grpSpPr bwMode="auto">
          <a:xfrm>
            <a:off x="8128242" y="275442"/>
            <a:ext cx="840815" cy="1306516"/>
            <a:chOff x="7875175" y="286625"/>
            <a:chExt cx="840815" cy="1306516"/>
          </a:xfrm>
        </p:grpSpPr>
        <p:grpSp>
          <p:nvGrpSpPr>
            <p:cNvPr id="49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7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8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  <p:grpSp>
          <p:nvGrpSpPr>
            <p:cNvPr id="50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  <p:grpSp>
          <p:nvGrpSpPr>
            <p:cNvPr id="51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63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4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  <p:sp>
          <p:nvSpPr>
            <p:cNvPr id="52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971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53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971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54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971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55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971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sp>
          <p:nvSpPr>
            <p:cNvPr id="56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971" fontAlgn="base">
                <a:spcBef>
                  <a:spcPct val="0"/>
                </a:spcBef>
                <a:spcAft>
                  <a:spcPct val="0"/>
                </a:spcAft>
                <a:buClr>
                  <a:srgbClr val="003366"/>
                </a:buClr>
              </a:pPr>
              <a:r>
                <a:rPr lang="en-US" sz="1200" dirty="0">
                  <a:solidFill>
                    <a:srgbClr val="000000"/>
                  </a:solidFill>
                  <a:cs typeface="Calibri" pitchFamily="34" charset="0"/>
                </a:rPr>
                <a:t>Legend</a:t>
              </a:r>
            </a:p>
          </p:txBody>
        </p:sp>
        <p:grpSp>
          <p:nvGrpSpPr>
            <p:cNvPr id="57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  <p:grpSp>
          <p:nvGrpSpPr>
            <p:cNvPr id="58" name="MoonLegend1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cs typeface="Calibri" pitchFamily="34" charset="0"/>
                </a:endParaRPr>
              </a:p>
            </p:txBody>
          </p:sp>
        </p:grpSp>
      </p:grpSp>
      <p:sp>
        <p:nvSpPr>
          <p:cNvPr id="69" name="Rectangle 68"/>
          <p:cNvSpPr/>
          <p:nvPr/>
        </p:nvSpPr>
        <p:spPr>
          <a:xfrm>
            <a:off x="174946" y="6546014"/>
            <a:ext cx="6841963" cy="2198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PRIVILEGED AND CONFIDENTIAL – ATTORNEY WORK PRODUCT – A/C PRIVILEGED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FFFFFF"/>
                </a:solidFill>
              </a:rPr>
              <a:t>For integration preparation purposes only. All proposals will be subject to appropriate consultation where applicable with employees and employee representative bodies.</a:t>
            </a:r>
          </a:p>
        </p:txBody>
      </p:sp>
    </p:spTree>
    <p:extLst>
      <p:ext uri="{BB962C8B-B14F-4D97-AF65-F5344CB8AC3E}">
        <p14:creationId xmlns:p14="http://schemas.microsoft.com/office/powerpoint/2010/main" val="3202367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7" r:id="rId6"/>
    <p:sldLayoutId id="2147483718" r:id="rId7"/>
    <p:sldLayoutId id="2147483719" r:id="rId8"/>
  </p:sldLayoutIdLst>
  <p:hf sldNum="0" hdr="0" ftr="0"/>
  <p:txStyles>
    <p:titleStyle>
      <a:lvl1pPr algn="l" defTabSz="902934" rtl="0" eaLnBrk="1" fontAlgn="base" hangingPunct="1">
        <a:spcBef>
          <a:spcPct val="0"/>
        </a:spcBef>
        <a:spcAft>
          <a:spcPct val="0"/>
        </a:spcAft>
        <a:tabLst>
          <a:tab pos="272162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293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293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293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293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1030" algn="l" defTabSz="90293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2140" algn="l" defTabSz="90293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83218" algn="l" defTabSz="90293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44290" algn="l" defTabSz="90293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293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5316" indent="-193718" algn="l" defTabSz="90293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 baseline="0">
          <a:solidFill>
            <a:schemeClr val="tx1"/>
          </a:solidFill>
          <a:latin typeface="+mn-lt"/>
        </a:defRPr>
      </a:lvl2pPr>
      <a:lvl3pPr marL="461030" indent="-264159" algn="l" defTabSz="90293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9568" indent="-156900" algn="l" defTabSz="90293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▫"/>
        <a:defRPr sz="1600" baseline="0">
          <a:solidFill>
            <a:schemeClr val="tx1"/>
          </a:solidFill>
          <a:latin typeface="+mn-lt"/>
        </a:defRPr>
      </a:lvl4pPr>
      <a:lvl5pPr marL="756162" indent="-131278" algn="l" defTabSz="90293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56162" indent="-131278" algn="l" defTabSz="90293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56162" indent="-131278" algn="l" defTabSz="90293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56162" indent="-131278" algn="l" defTabSz="90293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56162" indent="-131278" algn="l" defTabSz="90293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21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1030" algn="l" defTabSz="9221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2140" algn="l" defTabSz="9221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3218" algn="l" defTabSz="9221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4290" algn="l" defTabSz="9221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5366" algn="l" defTabSz="9221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66438" algn="l" defTabSz="9221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27512" algn="l" defTabSz="9221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88585" algn="l" defTabSz="9221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18EABA8-6480-4F5F-ADA0-2B9FC6B818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57400" y="2936558"/>
            <a:ext cx="4727576" cy="492443"/>
          </a:xfrm>
        </p:spPr>
        <p:txBody>
          <a:bodyPr/>
          <a:lstStyle/>
          <a:p>
            <a:pPr algn="ctr"/>
            <a:r>
              <a:rPr lang="fr-FR" b="1" dirty="0">
                <a:solidFill>
                  <a:srgbClr val="7030A0"/>
                </a:solidFill>
              </a:rPr>
              <a:t>PROJET 7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64704486-0FF1-4C42-8E0D-45F395C919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08212" y="4267200"/>
            <a:ext cx="4727576" cy="1015663"/>
          </a:xfrm>
        </p:spPr>
        <p:txBody>
          <a:bodyPr/>
          <a:lstStyle/>
          <a:p>
            <a:pPr algn="ctr"/>
            <a:r>
              <a:rPr lang="fr-FR" sz="2400" b="1" dirty="0">
                <a:latin typeface="+mj-lt"/>
              </a:rPr>
              <a:t>IMPLEMENTEZ UN MODELE DE SCORING</a:t>
            </a:r>
            <a:endParaRPr lang="fr-FR" sz="2400" b="1" i="0" dirty="0">
              <a:effectLst/>
              <a:latin typeface="+mj-lt"/>
            </a:endParaRP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86711705"/>
      </p:ext>
    </p:extLst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5023839-21FC-4594-95CA-54C95EA276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400" i="0" cap="all" baseline="0" dirty="0">
                <a:solidFill>
                  <a:srgbClr val="7030A0"/>
                </a:solidFill>
                <a:ea typeface="+mj-ea"/>
                <a:cs typeface="Calibri" panose="020F0502020204030204" pitchFamily="34" charset="0"/>
              </a:rPr>
              <a:t>Dashboard interactif</a:t>
            </a:r>
            <a:br>
              <a:rPr lang="fr-FR" sz="2400" i="0" cap="all" baseline="0" dirty="0">
                <a:solidFill>
                  <a:srgbClr val="7030A0"/>
                </a:solidFill>
                <a:cs typeface="Calibri" panose="020F0502020204030204" pitchFamily="34" charset="0"/>
              </a:rPr>
            </a:br>
            <a:br>
              <a:rPr lang="fr-FR" sz="2400" i="0" cap="all" baseline="0" dirty="0">
                <a:solidFill>
                  <a:srgbClr val="7030A0"/>
                </a:solidFill>
                <a:cs typeface="Calibri" panose="020F0502020204030204" pitchFamily="34" charset="0"/>
              </a:rPr>
            </a:br>
            <a:endParaRPr lang="fr-FR" dirty="0">
              <a:solidFill>
                <a:srgbClr val="7030A0"/>
              </a:solidFill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127A1155-E257-2302-D209-33E90CB2323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6544" r="-107"/>
          <a:stretch/>
        </p:blipFill>
        <p:spPr>
          <a:xfrm>
            <a:off x="389941" y="1752600"/>
            <a:ext cx="8373059" cy="4181824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96B1ED40-7BE9-D0EE-E6C2-929067636C96}"/>
              </a:ext>
            </a:extLst>
          </p:cNvPr>
          <p:cNvSpPr txBox="1"/>
          <p:nvPr/>
        </p:nvSpPr>
        <p:spPr>
          <a:xfrm>
            <a:off x="990600" y="990600"/>
            <a:ext cx="2362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rgbClr val="7030A0"/>
                </a:solidFill>
              </a:rPr>
              <a:t>Mode d’emploi:</a:t>
            </a:r>
          </a:p>
        </p:txBody>
      </p:sp>
    </p:spTree>
    <p:extLst>
      <p:ext uri="{BB962C8B-B14F-4D97-AF65-F5344CB8AC3E}">
        <p14:creationId xmlns:p14="http://schemas.microsoft.com/office/powerpoint/2010/main" val="1049071834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5023839-21FC-4594-95CA-54C95EA276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400" i="0" cap="all" baseline="0" dirty="0">
                <a:solidFill>
                  <a:srgbClr val="7030A0"/>
                </a:solidFill>
                <a:ea typeface="+mj-ea"/>
                <a:cs typeface="Calibri" panose="020F0502020204030204" pitchFamily="34" charset="0"/>
              </a:rPr>
              <a:t>Conclusion</a:t>
            </a:r>
            <a:br>
              <a:rPr lang="fr-FR" sz="2400" b="0" i="0" cap="all" baseline="0" dirty="0">
                <a:latin typeface="BISansCond" panose="02000006050000020004" pitchFamily="2" charset="0"/>
                <a:ea typeface="+mj-ea"/>
                <a:cs typeface="Calibri" panose="020F0502020204030204" pitchFamily="34" charset="0"/>
              </a:rPr>
            </a:br>
            <a:br>
              <a:rPr lang="fr-FR" sz="2400" i="0" cap="all" baseline="0" dirty="0">
                <a:solidFill>
                  <a:srgbClr val="7030A0"/>
                </a:solidFill>
                <a:cs typeface="Calibri" panose="020F0502020204030204" pitchFamily="34" charset="0"/>
              </a:rPr>
            </a:br>
            <a:br>
              <a:rPr lang="fr-FR" sz="2400" i="0" cap="all" baseline="0" dirty="0">
                <a:solidFill>
                  <a:srgbClr val="7030A0"/>
                </a:solidFill>
                <a:cs typeface="Calibri" panose="020F0502020204030204" pitchFamily="34" charset="0"/>
              </a:rPr>
            </a:br>
            <a:endParaRPr lang="fr-FR" dirty="0">
              <a:solidFill>
                <a:srgbClr val="7030A0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E9DA261-18AF-4E29-A76A-F016CEE6694A}"/>
              </a:ext>
            </a:extLst>
          </p:cNvPr>
          <p:cNvSpPr txBox="1"/>
          <p:nvPr/>
        </p:nvSpPr>
        <p:spPr>
          <a:xfrm>
            <a:off x="869508" y="1507238"/>
            <a:ext cx="77724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Allez plus loin:</a:t>
            </a:r>
          </a:p>
          <a:p>
            <a:endParaRPr lang="fr-FR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Pour un modèle plus performant: </a:t>
            </a:r>
          </a:p>
          <a:p>
            <a:r>
              <a:rPr lang="fr-FR" b="1" dirty="0"/>
              <a:t>	- </a:t>
            </a:r>
            <a:r>
              <a:rPr lang="fr-FR" dirty="0"/>
              <a:t>Perfectionnement du </a:t>
            </a:r>
            <a:r>
              <a:rPr lang="fr-FR" dirty="0" err="1"/>
              <a:t>features</a:t>
            </a:r>
            <a:r>
              <a:rPr lang="fr-FR" dirty="0"/>
              <a:t> engineering</a:t>
            </a:r>
          </a:p>
          <a:p>
            <a:r>
              <a:rPr lang="fr-FR" dirty="0"/>
              <a:t>	- Définition d’une métrique d’évaluation en collaborant avec 	les équipes métier  </a:t>
            </a:r>
          </a:p>
          <a:p>
            <a:r>
              <a:rPr lang="fr-FR" dirty="0"/>
              <a:t>	- Elargissement des hyperparamètres pour des 	performances meilleu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Amélioration du Dashboard: </a:t>
            </a:r>
          </a:p>
          <a:p>
            <a:pPr lvl="1"/>
            <a:r>
              <a:rPr lang="fr-FR" dirty="0"/>
              <a:t>	- Ajout des information / graphique selon le besoin du métier</a:t>
            </a:r>
          </a:p>
        </p:txBody>
      </p:sp>
    </p:spTree>
    <p:extLst>
      <p:ext uri="{BB962C8B-B14F-4D97-AF65-F5344CB8AC3E}">
        <p14:creationId xmlns:p14="http://schemas.microsoft.com/office/powerpoint/2010/main" val="791992628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621A4C3-D1FE-4E15-917F-996656F17D6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743200" y="2438400"/>
            <a:ext cx="4419600" cy="460566"/>
          </a:xfrm>
        </p:spPr>
        <p:txBody>
          <a:bodyPr/>
          <a:lstStyle/>
          <a:p>
            <a:r>
              <a:rPr lang="fr-FR" sz="2400" dirty="0">
                <a:solidFill>
                  <a:srgbClr val="7030A0"/>
                </a:solidFill>
              </a:rPr>
              <a:t>Merci pour votre attention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CC70D4AE-5E5A-48B0-82C3-27C2195D21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400" i="0" cap="all" baseline="0" dirty="0">
                <a:solidFill>
                  <a:srgbClr val="7030A0"/>
                </a:solidFill>
                <a:ea typeface="+mj-ea"/>
                <a:cs typeface="Calibri" panose="020F0502020204030204" pitchFamily="34" charset="0"/>
              </a:rPr>
              <a:t>Questions &amp; réponses</a:t>
            </a:r>
            <a:br>
              <a:rPr lang="fr-FR" sz="2400" b="0" i="0" cap="all" baseline="0" dirty="0">
                <a:latin typeface="BISansCond" panose="02000006050000020004" pitchFamily="2" charset="0"/>
                <a:ea typeface="+mj-ea"/>
                <a:cs typeface="Calibri" panose="020F0502020204030204" pitchFamily="34" charset="0"/>
              </a:rPr>
            </a:b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3241242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7929" y="319979"/>
            <a:ext cx="8666145" cy="412309"/>
          </a:xfrm>
        </p:spPr>
        <p:txBody>
          <a:bodyPr/>
          <a:lstStyle/>
          <a:p>
            <a:pPr defTabSz="914400"/>
            <a:r>
              <a:rPr lang="en-US" kern="1200" spc="300" dirty="0">
                <a:solidFill>
                  <a:srgbClr val="7030A0"/>
                </a:solidFill>
              </a:rPr>
              <a:t>Plan</a:t>
            </a:r>
            <a:br>
              <a:rPr lang="en-US" b="0" kern="1200" spc="300" dirty="0">
                <a:solidFill>
                  <a:srgbClr val="003366"/>
                </a:solidFill>
                <a:latin typeface="BISansCond" panose="02000006050000020004" pitchFamily="2" charset="0"/>
              </a:rPr>
            </a:br>
            <a:endParaRPr lang="en-US" b="0" kern="1200" spc="300" dirty="0">
              <a:solidFill>
                <a:srgbClr val="003366"/>
              </a:solidFill>
              <a:latin typeface="BISansCond" panose="02000006050000020004" pitchFamily="2" charset="0"/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val="2937351822"/>
              </p:ext>
            </p:extLst>
          </p:nvPr>
        </p:nvGraphicFramePr>
        <p:xfrm>
          <a:off x="304800" y="1524000"/>
          <a:ext cx="5257800" cy="419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ZoneTexte 3"/>
          <p:cNvSpPr txBox="1"/>
          <p:nvPr/>
        </p:nvSpPr>
        <p:spPr>
          <a:xfrm>
            <a:off x="687714" y="1971090"/>
            <a:ext cx="457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rgbClr val="7030A0"/>
                </a:solidFill>
                <a:latin typeface="BISansCond" panose="02000006050000020004" pitchFamily="2" charset="0"/>
              </a:rPr>
              <a:t>1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066800" y="2882719"/>
            <a:ext cx="457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rgbClr val="7030A0"/>
                </a:solidFill>
                <a:latin typeface="BISansCond" panose="02000006050000020004" pitchFamily="2" charset="0"/>
              </a:rPr>
              <a:t>2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1039977" y="3794348"/>
            <a:ext cx="457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rgbClr val="7030A0"/>
                </a:solidFill>
                <a:latin typeface="BISansCond" panose="02000006050000020004" pitchFamily="2" charset="0"/>
              </a:rPr>
              <a:t>3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533400" y="4800600"/>
            <a:ext cx="6406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rgbClr val="7030A0"/>
                </a:solidFill>
                <a:latin typeface="BISansCond" panose="02000006050000020004" pitchFamily="2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2388090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AsOne/>
      </p:bldGraphic>
      <p:bldP spid="4" grpId="0"/>
      <p:bldP spid="5" grpId="0"/>
      <p:bldP spid="7" grpId="0"/>
      <p:bldP spid="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5023839-21FC-4594-95CA-54C95EA276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400" i="0" cap="all" baseline="0" dirty="0">
                <a:solidFill>
                  <a:srgbClr val="7030A0"/>
                </a:solidFill>
                <a:ea typeface="+mj-ea"/>
                <a:cs typeface="Calibri" panose="020F0502020204030204" pitchFamily="34" charset="0"/>
              </a:rPr>
              <a:t>Problématique &amp; présentation des données</a:t>
            </a:r>
            <a:br>
              <a:rPr lang="fr-FR" sz="2400" b="0" i="0" cap="all" baseline="0" dirty="0">
                <a:latin typeface="BISansCond" panose="02000006050000020004" pitchFamily="2" charset="0"/>
                <a:ea typeface="+mj-ea"/>
                <a:cs typeface="Calibri" panose="020F0502020204030204" pitchFamily="34" charset="0"/>
              </a:rPr>
            </a:br>
            <a:br>
              <a:rPr lang="fr-FR" sz="2400" b="0" i="0" cap="all" baseline="0" dirty="0">
                <a:solidFill>
                  <a:srgbClr val="7030A0"/>
                </a:solidFill>
                <a:latin typeface="BISansCond" panose="02000006050000020004" pitchFamily="2" charset="0"/>
                <a:ea typeface="+mj-ea"/>
                <a:cs typeface="Calibri" panose="020F0502020204030204" pitchFamily="34" charset="0"/>
              </a:rPr>
            </a:br>
            <a:endParaRPr lang="fr-FR" dirty="0">
              <a:solidFill>
                <a:srgbClr val="7030A0"/>
              </a:solidFill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BD445E11-63CB-4F8D-BF43-F2B08033DF1D}"/>
              </a:ext>
            </a:extLst>
          </p:cNvPr>
          <p:cNvSpPr txBox="1"/>
          <p:nvPr/>
        </p:nvSpPr>
        <p:spPr>
          <a:xfrm>
            <a:off x="196048" y="1219200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rgbClr val="7030A0"/>
                </a:solidFill>
              </a:rPr>
              <a:t>Contexte:</a:t>
            </a:r>
            <a:endParaRPr lang="fr-FR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F30AB5AB-250E-4315-B7B7-9DAA8132CAF6}"/>
              </a:ext>
            </a:extLst>
          </p:cNvPr>
          <p:cNvSpPr txBox="1"/>
          <p:nvPr/>
        </p:nvSpPr>
        <p:spPr>
          <a:xfrm>
            <a:off x="1524000" y="1219200"/>
            <a:ext cx="7239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/>
              <a:t>La volonté de l’entreprise « </a:t>
            </a:r>
            <a:r>
              <a:rPr lang="fr-FR" sz="1600" b="1" dirty="0"/>
              <a:t>Prêt à dépenser </a:t>
            </a:r>
            <a:r>
              <a:rPr lang="fr-FR" sz="1600" dirty="0"/>
              <a:t>» de mettre en œuvre un outil de « </a:t>
            </a:r>
            <a:r>
              <a:rPr lang="fr-FR" sz="1600" b="1" dirty="0" err="1"/>
              <a:t>scoring</a:t>
            </a:r>
            <a:r>
              <a:rPr lang="fr-FR" sz="1600" b="1" dirty="0"/>
              <a:t> crédit </a:t>
            </a:r>
            <a:r>
              <a:rPr lang="fr-FR" sz="1600" dirty="0"/>
              <a:t>» </a:t>
            </a:r>
          </a:p>
          <a:p>
            <a:endParaRPr lang="fr-FR" sz="160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2859048-C6C6-411F-A8FF-83E22062C862}"/>
              </a:ext>
            </a:extLst>
          </p:cNvPr>
          <p:cNvSpPr txBox="1"/>
          <p:nvPr/>
        </p:nvSpPr>
        <p:spPr>
          <a:xfrm>
            <a:off x="196048" y="3429000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rgbClr val="7030A0"/>
                </a:solidFill>
              </a:rPr>
              <a:t>Missions:</a:t>
            </a:r>
            <a:endParaRPr lang="fr-FR" dirty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98B0DD1D-DDBB-419C-9D12-35E9A6612F98}"/>
              </a:ext>
            </a:extLst>
          </p:cNvPr>
          <p:cNvSpPr txBox="1"/>
          <p:nvPr/>
        </p:nvSpPr>
        <p:spPr>
          <a:xfrm>
            <a:off x="1558031" y="3471208"/>
            <a:ext cx="72390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>
                <a:sym typeface="Wingdings" panose="05000000000000000000" pitchFamily="2" charset="2"/>
              </a:rPr>
              <a:t>Construction d’un modèle de </a:t>
            </a:r>
            <a:r>
              <a:rPr lang="fr-FR" sz="1600" b="1" dirty="0" err="1">
                <a:sym typeface="Wingdings" panose="05000000000000000000" pitchFamily="2" charset="2"/>
              </a:rPr>
              <a:t>scoring</a:t>
            </a:r>
            <a:r>
              <a:rPr lang="fr-FR" sz="1600" b="1" dirty="0">
                <a:sym typeface="Wingdings" panose="05000000000000000000" pitchFamily="2" charset="2"/>
              </a:rPr>
              <a:t> </a:t>
            </a:r>
          </a:p>
          <a:p>
            <a:pPr marL="742614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ym typeface="Wingdings" panose="05000000000000000000" pitchFamily="2" charset="2"/>
              </a:rPr>
              <a:t> traitement des données </a:t>
            </a:r>
          </a:p>
          <a:p>
            <a:pPr marL="742614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ym typeface="Wingdings" panose="05000000000000000000" pitchFamily="2" charset="2"/>
              </a:rPr>
              <a:t>Entrainement des modèles </a:t>
            </a:r>
          </a:p>
          <a:p>
            <a:pPr marL="742614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ym typeface="Wingdings" panose="05000000000000000000" pitchFamily="2" charset="2"/>
              </a:rPr>
              <a:t>choix du meilleur modè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>
                <a:sym typeface="Wingdings" panose="05000000000000000000" pitchFamily="2" charset="2"/>
              </a:rPr>
              <a:t>Construction d’un </a:t>
            </a:r>
            <a:r>
              <a:rPr lang="fr-FR" sz="1600" b="1" dirty="0" err="1">
                <a:sym typeface="Wingdings" panose="05000000000000000000" pitchFamily="2" charset="2"/>
              </a:rPr>
              <a:t>Dashbord</a:t>
            </a:r>
            <a:r>
              <a:rPr lang="fr-FR" sz="1600" b="1" dirty="0">
                <a:sym typeface="Wingdings" panose="05000000000000000000" pitchFamily="2" charset="2"/>
              </a:rPr>
              <a:t> </a:t>
            </a:r>
          </a:p>
          <a:p>
            <a:pPr marL="742614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ym typeface="Wingdings" panose="05000000000000000000" pitchFamily="2" charset="2"/>
              </a:rPr>
              <a:t>Accès au résultat de prédiction</a:t>
            </a:r>
          </a:p>
          <a:p>
            <a:pPr marL="742614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ym typeface="Wingdings" panose="05000000000000000000" pitchFamily="2" charset="2"/>
              </a:rPr>
              <a:t>Accès aux informations utiles pour expliquer le résultat de la </a:t>
            </a:r>
            <a:r>
              <a:rPr lang="fr-FR" sz="1600" dirty="0" err="1">
                <a:sym typeface="Wingdings" panose="05000000000000000000" pitchFamily="2" charset="2"/>
              </a:rPr>
              <a:t>prédictiin</a:t>
            </a:r>
            <a:endParaRPr lang="fr-FR" sz="1600" dirty="0">
              <a:sym typeface="Wingdings" panose="05000000000000000000" pitchFamily="2" charset="2"/>
            </a:endParaRPr>
          </a:p>
          <a:p>
            <a:pPr marL="742614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ym typeface="Wingdings" panose="05000000000000000000" pitchFamily="2" charset="2"/>
              </a:rPr>
              <a:t>Accès à des informations générales du client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fr-FR" sz="1600" dirty="0">
              <a:sym typeface="Wingdings" panose="05000000000000000000" pitchFamily="2" charset="2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471DF5DE-59B1-4A51-A052-04C284907A7A}"/>
              </a:ext>
            </a:extLst>
          </p:cNvPr>
          <p:cNvSpPr txBox="1"/>
          <p:nvPr/>
        </p:nvSpPr>
        <p:spPr>
          <a:xfrm>
            <a:off x="1519290" y="1876961"/>
            <a:ext cx="7086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è"/>
            </a:pPr>
            <a:r>
              <a:rPr lang="fr-FR" sz="1600" dirty="0">
                <a:sym typeface="Wingdings" panose="05000000000000000000" pitchFamily="2" charset="2"/>
              </a:rPr>
              <a:t>Calcul de la probabilité de défaut de paiement du client et décision d’accord ou non du crédit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fr-FR" sz="1600" dirty="0" err="1">
                <a:sym typeface="Wingdings" panose="05000000000000000000" pitchFamily="2" charset="2"/>
              </a:rPr>
              <a:t>Dashbord</a:t>
            </a:r>
            <a:r>
              <a:rPr lang="fr-FR" sz="1600" dirty="0">
                <a:sym typeface="Wingdings" panose="05000000000000000000" pitchFamily="2" charset="2"/>
              </a:rPr>
              <a:t> </a:t>
            </a:r>
            <a:r>
              <a:rPr lang="fr-FR" sz="1600" dirty="0" err="1">
                <a:sym typeface="Wingdings" panose="05000000000000000000" pitchFamily="2" charset="2"/>
              </a:rPr>
              <a:t>intéractif</a:t>
            </a:r>
            <a:r>
              <a:rPr lang="fr-FR" sz="1600" dirty="0">
                <a:sym typeface="Wingdings" panose="05000000000000000000" pitchFamily="2" charset="2"/>
              </a:rPr>
              <a:t> utile pour les équipes de chargés de relation client 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fr-FR" sz="1600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fr-FR" sz="1600" dirty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66608800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  <p:bldP spid="12" grpId="0"/>
      <p:bldP spid="1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5023839-21FC-4594-95CA-54C95EA276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400" i="0" cap="all" baseline="0" dirty="0">
                <a:solidFill>
                  <a:srgbClr val="7030A0"/>
                </a:solidFill>
                <a:ea typeface="+mj-ea"/>
                <a:cs typeface="Calibri" panose="020F0502020204030204" pitchFamily="34" charset="0"/>
              </a:rPr>
              <a:t>Problématique &amp; présentation des données</a:t>
            </a:r>
            <a:br>
              <a:rPr lang="fr-FR" sz="2400" i="0" cap="all" baseline="0" dirty="0">
                <a:solidFill>
                  <a:srgbClr val="7030A0"/>
                </a:solidFill>
                <a:cs typeface="Calibri" panose="020F0502020204030204" pitchFamily="34" charset="0"/>
              </a:rPr>
            </a:br>
            <a:br>
              <a:rPr lang="fr-FR" sz="2400" i="0" cap="all" baseline="0" dirty="0">
                <a:solidFill>
                  <a:srgbClr val="7030A0"/>
                </a:solidFill>
                <a:cs typeface="Calibri" panose="020F0502020204030204" pitchFamily="34" charset="0"/>
              </a:rPr>
            </a:br>
            <a:endParaRPr lang="fr-FR" dirty="0">
              <a:solidFill>
                <a:srgbClr val="7030A0"/>
              </a:solidFill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FC421A9-AB9B-BDD9-5F52-8002093C293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3" t="2738" r="10519" b="5322"/>
          <a:stretch/>
        </p:blipFill>
        <p:spPr>
          <a:xfrm>
            <a:off x="762000" y="1676399"/>
            <a:ext cx="7620000" cy="4800601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CF53B242-1F47-B624-B5E9-CA5EE8310F36}"/>
              </a:ext>
            </a:extLst>
          </p:cNvPr>
          <p:cNvSpPr txBox="1"/>
          <p:nvPr/>
        </p:nvSpPr>
        <p:spPr>
          <a:xfrm>
            <a:off x="228600" y="799471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rgbClr val="7030A0"/>
                </a:solidFill>
              </a:rPr>
              <a:t>Données:</a:t>
            </a:r>
            <a:endParaRPr lang="fr-FR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BE4D7EBC-B646-97EA-A773-AAE304F69B7D}"/>
              </a:ext>
            </a:extLst>
          </p:cNvPr>
          <p:cNvSpPr txBox="1"/>
          <p:nvPr/>
        </p:nvSpPr>
        <p:spPr>
          <a:xfrm>
            <a:off x="1524000" y="845402"/>
            <a:ext cx="7239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fr-FR" sz="1600" dirty="0"/>
              <a:t>Une base de données client disponible sur </a:t>
            </a:r>
            <a:r>
              <a:rPr lang="fr-FR" sz="1600" dirty="0" err="1"/>
              <a:t>Kaggle</a:t>
            </a:r>
            <a:endParaRPr lang="fr-FR" sz="1600" dirty="0"/>
          </a:p>
          <a:p>
            <a:pPr marL="285750" indent="-285750">
              <a:buFontTx/>
              <a:buChar char="-"/>
            </a:pPr>
            <a:r>
              <a:rPr lang="fr-FR" sz="1600" dirty="0" err="1"/>
              <a:t>Contiennents</a:t>
            </a:r>
            <a:r>
              <a:rPr lang="fr-FR" sz="1600" dirty="0"/>
              <a:t> des données financières et comportementales (âge, sexe, situations familiales, revenus , …</a:t>
            </a:r>
            <a:r>
              <a:rPr lang="fr-FR" sz="1600" dirty="0" err="1"/>
              <a:t>etc</a:t>
            </a:r>
            <a:r>
              <a:rPr lang="fr-FR" sz="1600" dirty="0"/>
              <a:t>)</a:t>
            </a:r>
          </a:p>
          <a:p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336234381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5023839-21FC-4594-95CA-54C95EA276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400" i="0" cap="all" baseline="0" dirty="0">
                <a:solidFill>
                  <a:srgbClr val="7030A0"/>
                </a:solidFill>
                <a:ea typeface="+mj-ea"/>
                <a:cs typeface="Calibri" panose="020F0502020204030204" pitchFamily="34" charset="0"/>
              </a:rPr>
              <a:t>Prétraitements</a:t>
            </a:r>
            <a:br>
              <a:rPr lang="fr-FR" sz="2400" i="0" cap="all" baseline="0" dirty="0">
                <a:solidFill>
                  <a:srgbClr val="7030A0"/>
                </a:solidFill>
                <a:cs typeface="Calibri" panose="020F0502020204030204" pitchFamily="34" charset="0"/>
              </a:rPr>
            </a:br>
            <a:br>
              <a:rPr lang="fr-FR" sz="2400" i="0" cap="all" baseline="0" dirty="0">
                <a:solidFill>
                  <a:srgbClr val="7030A0"/>
                </a:solidFill>
                <a:cs typeface="Calibri" panose="020F0502020204030204" pitchFamily="34" charset="0"/>
              </a:rPr>
            </a:br>
            <a:endParaRPr lang="fr-FR" dirty="0">
              <a:solidFill>
                <a:srgbClr val="7030A0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3DCC9A34-7A48-4F24-BE7A-AA43B7DBC65B}"/>
              </a:ext>
            </a:extLst>
          </p:cNvPr>
          <p:cNvSpPr txBox="1"/>
          <p:nvPr/>
        </p:nvSpPr>
        <p:spPr>
          <a:xfrm>
            <a:off x="196048" y="838200"/>
            <a:ext cx="1785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rgbClr val="7030A0"/>
                </a:solidFill>
              </a:rPr>
              <a:t>Etape 1 :</a:t>
            </a:r>
            <a:endParaRPr lang="fr-FR" dirty="0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94947A0D-228E-423F-9606-31215F24E301}"/>
              </a:ext>
            </a:extLst>
          </p:cNvPr>
          <p:cNvSpPr txBox="1"/>
          <p:nvPr/>
        </p:nvSpPr>
        <p:spPr>
          <a:xfrm>
            <a:off x="1600200" y="806609"/>
            <a:ext cx="66294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ym typeface="Wingdings" panose="05000000000000000000" pitchFamily="2" charset="2"/>
              </a:rPr>
              <a:t>Identification / imputation des variables manquant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ym typeface="Wingdings" panose="05000000000000000000" pitchFamily="2" charset="2"/>
              </a:rPr>
              <a:t>Analyse des valeurs atypiqu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ym typeface="Wingdings" panose="05000000000000000000" pitchFamily="2" charset="2"/>
              </a:rPr>
              <a:t>Visualisation des corrélation avec la variable ci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ym typeface="Wingdings" panose="05000000000000000000" pitchFamily="2" charset="2"/>
              </a:rPr>
              <a:t>Encodage des variables catégorielle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66C30025-D29B-7F2F-F9ED-0EDC18D13125}"/>
              </a:ext>
            </a:extLst>
          </p:cNvPr>
          <p:cNvSpPr txBox="1"/>
          <p:nvPr/>
        </p:nvSpPr>
        <p:spPr>
          <a:xfrm>
            <a:off x="304800" y="1905000"/>
            <a:ext cx="1785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rgbClr val="7030A0"/>
                </a:solidFill>
              </a:rPr>
              <a:t>Etape 2 :</a:t>
            </a:r>
            <a:endParaRPr lang="fr-FR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54788DA1-A4B4-D75E-C420-6404E4E26B99}"/>
              </a:ext>
            </a:extLst>
          </p:cNvPr>
          <p:cNvSpPr txBox="1"/>
          <p:nvPr/>
        </p:nvSpPr>
        <p:spPr>
          <a:xfrm>
            <a:off x="1607598" y="2060820"/>
            <a:ext cx="7384002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>
                <a:sym typeface="Wingdings" panose="05000000000000000000" pitchFamily="2" charset="2"/>
              </a:rPr>
              <a:t>Combinaison des différents jeux de donné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>
                <a:sym typeface="Wingdings" panose="05000000000000000000" pitchFamily="2" charset="2"/>
              </a:rPr>
              <a:t>Création de nouvelles variables 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fr-FR" sz="1600" dirty="0">
                <a:sym typeface="Wingdings" panose="05000000000000000000" pitchFamily="2" charset="2"/>
              </a:rPr>
              <a:t>3 nouvelles variables de moyenne et de comptage </a:t>
            </a:r>
          </a:p>
          <a:p>
            <a:pPr marL="285750" indent="-285750">
              <a:buFontTx/>
              <a:buChar char="-"/>
            </a:pPr>
            <a:r>
              <a:rPr lang="fr-FR" sz="1600" dirty="0"/>
              <a:t>PREVIOUS_LOANS_COUNT : nombre des précédents crédits pris par le client </a:t>
            </a:r>
          </a:p>
          <a:p>
            <a:pPr marL="285750" indent="-285750">
              <a:buFontTx/>
              <a:buChar char="-"/>
            </a:pPr>
            <a:r>
              <a:rPr lang="fr-FR" sz="1600" dirty="0"/>
              <a:t>- MONTHS_BALANCE_MEAN : solde mensuel moyen des précédents crédits </a:t>
            </a:r>
          </a:p>
          <a:p>
            <a:pPr marL="285750" indent="-285750">
              <a:buFontTx/>
              <a:buChar char="-"/>
            </a:pPr>
            <a:r>
              <a:rPr lang="fr-FR" sz="1600" dirty="0"/>
              <a:t>PREVIOUS_APPLICATION_COUNT : nombre de demandes antérieures au crédit immobilier</a:t>
            </a:r>
            <a:r>
              <a:rPr lang="fr-FR" sz="1600" b="1" dirty="0">
                <a:sym typeface="Wingdings" panose="05000000000000000000" pitchFamily="2" charset="2"/>
              </a:rPr>
              <a:t> 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fr-FR" sz="1600" dirty="0">
                <a:sym typeface="Wingdings" panose="05000000000000000000" pitchFamily="2" charset="2"/>
              </a:rPr>
              <a:t>Rations explicatifs</a:t>
            </a:r>
            <a:endParaRPr lang="fr-FR" sz="1600" b="1" dirty="0">
              <a:sym typeface="Wingdings" panose="05000000000000000000" pitchFamily="2" charset="2"/>
            </a:endParaRPr>
          </a:p>
          <a:p>
            <a:pPr marL="285750" indent="-285750">
              <a:buFontTx/>
              <a:buChar char="-"/>
            </a:pPr>
            <a:r>
              <a:rPr lang="fr-FR" sz="1600" dirty="0"/>
              <a:t>DAYS_EMPLOYED_PERCENT : % jours employés par rapport à l'âge du client </a:t>
            </a:r>
          </a:p>
          <a:p>
            <a:pPr marL="285750" indent="-285750">
              <a:buFontTx/>
              <a:buChar char="-"/>
            </a:pPr>
            <a:r>
              <a:rPr lang="fr-FR" sz="1600" dirty="0"/>
              <a:t>CREDIT_INCOME_PERCENT : % montant du crédit par rapport au revenu d'un client </a:t>
            </a:r>
          </a:p>
          <a:p>
            <a:pPr marL="285750" indent="-285750">
              <a:buFontTx/>
              <a:buChar char="-"/>
            </a:pPr>
            <a:r>
              <a:rPr lang="fr-FR" sz="1600" dirty="0"/>
              <a:t>PAIEMENT_RATE: durée du paiement en mois</a:t>
            </a:r>
          </a:p>
          <a:p>
            <a:pPr marL="285750" indent="-285750">
              <a:buFontTx/>
              <a:buChar char="-"/>
            </a:pPr>
            <a:r>
              <a:rPr lang="fr-FR" sz="1600" dirty="0"/>
              <a:t>ANNUITY_INCOME_PERCENT : % rente de prêt par rapport au revenu d'un client </a:t>
            </a:r>
          </a:p>
        </p:txBody>
      </p:sp>
    </p:spTree>
    <p:extLst>
      <p:ext uri="{BB962C8B-B14F-4D97-AF65-F5344CB8AC3E}">
        <p14:creationId xmlns:p14="http://schemas.microsoft.com/office/powerpoint/2010/main" val="134357956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5023839-21FC-4594-95CA-54C95EA276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400" i="0" cap="all" baseline="0" dirty="0">
                <a:solidFill>
                  <a:srgbClr val="7030A0"/>
                </a:solidFill>
                <a:ea typeface="+mj-ea"/>
                <a:cs typeface="Calibri" panose="020F0502020204030204" pitchFamily="34" charset="0"/>
              </a:rPr>
              <a:t>Prétraitements</a:t>
            </a:r>
            <a:br>
              <a:rPr lang="fr-FR" sz="2400" i="0" cap="all" baseline="0" dirty="0">
                <a:solidFill>
                  <a:srgbClr val="7030A0"/>
                </a:solidFill>
                <a:cs typeface="Calibri" panose="020F0502020204030204" pitchFamily="34" charset="0"/>
              </a:rPr>
            </a:br>
            <a:br>
              <a:rPr lang="fr-FR" sz="2400" i="0" cap="all" baseline="0" dirty="0">
                <a:solidFill>
                  <a:srgbClr val="7030A0"/>
                </a:solidFill>
                <a:cs typeface="Calibri" panose="020F0502020204030204" pitchFamily="34" charset="0"/>
              </a:rPr>
            </a:br>
            <a:endParaRPr lang="fr-FR" dirty="0">
              <a:solidFill>
                <a:srgbClr val="7030A0"/>
              </a:solidFill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C25059BE-23DD-BD16-C82B-4711951029E4}"/>
              </a:ext>
            </a:extLst>
          </p:cNvPr>
          <p:cNvSpPr txBox="1"/>
          <p:nvPr/>
        </p:nvSpPr>
        <p:spPr>
          <a:xfrm>
            <a:off x="152400" y="914400"/>
            <a:ext cx="1785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rgbClr val="7030A0"/>
                </a:solidFill>
              </a:rPr>
              <a:t>Etape 3 :</a:t>
            </a:r>
            <a:endParaRPr lang="fr-FR" dirty="0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6E30E5F6-D2DF-C6ED-05BC-6180CB99C876}"/>
              </a:ext>
            </a:extLst>
          </p:cNvPr>
          <p:cNvSpPr txBox="1"/>
          <p:nvPr/>
        </p:nvSpPr>
        <p:spPr>
          <a:xfrm>
            <a:off x="1447800" y="998316"/>
            <a:ext cx="6629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ym typeface="Wingdings" panose="05000000000000000000" pitchFamily="2" charset="2"/>
              </a:rPr>
              <a:t>Déséquilibre des proportions de classe 0 et 1 de la variable cible 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9E85C4C6-18B3-7D7F-F3CD-8FDB8F121164}"/>
              </a:ext>
            </a:extLst>
          </p:cNvPr>
          <p:cNvSpPr txBox="1"/>
          <p:nvPr/>
        </p:nvSpPr>
        <p:spPr>
          <a:xfrm>
            <a:off x="1507466" y="4996999"/>
            <a:ext cx="61290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800" dirty="0">
                <a:solidFill>
                  <a:srgbClr val="FF0000"/>
                </a:solidFill>
                <a:sym typeface="Wingdings" panose="05000000000000000000" pitchFamily="2" charset="2"/>
              </a:rPr>
              <a:t> Sur </a:t>
            </a:r>
            <a:r>
              <a:rPr lang="fr-FR" sz="1800" dirty="0" err="1">
                <a:solidFill>
                  <a:srgbClr val="FF0000"/>
                </a:solidFill>
                <a:sym typeface="Wingdings" panose="05000000000000000000" pitchFamily="2" charset="2"/>
              </a:rPr>
              <a:t>echantillonage</a:t>
            </a:r>
            <a:r>
              <a:rPr lang="fr-FR" sz="1800" dirty="0">
                <a:solidFill>
                  <a:srgbClr val="FF0000"/>
                </a:solidFill>
                <a:sym typeface="Wingdings" panose="05000000000000000000" pitchFamily="2" charset="2"/>
              </a:rPr>
              <a:t> (</a:t>
            </a:r>
            <a:r>
              <a:rPr lang="fr-FR" sz="1800" dirty="0" err="1">
                <a:solidFill>
                  <a:srgbClr val="FF0000"/>
                </a:solidFill>
                <a:sym typeface="Wingdings" panose="05000000000000000000" pitchFamily="2" charset="2"/>
              </a:rPr>
              <a:t>Oversampling</a:t>
            </a:r>
            <a:r>
              <a:rPr lang="fr-FR" sz="1800" dirty="0">
                <a:solidFill>
                  <a:srgbClr val="FF0000"/>
                </a:solidFill>
                <a:sym typeface="Wingdings" panose="05000000000000000000" pitchFamily="2" charset="2"/>
              </a:rPr>
              <a:t>) en utilisant </a:t>
            </a:r>
            <a:r>
              <a:rPr lang="fr-FR" sz="1800" b="1" dirty="0">
                <a:solidFill>
                  <a:srgbClr val="FF0000"/>
                </a:solidFill>
                <a:sym typeface="Wingdings" panose="05000000000000000000" pitchFamily="2" charset="2"/>
              </a:rPr>
              <a:t>SMOT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6557C00-3BCF-B974-6CC0-ECF1557FC99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35" b="5850"/>
          <a:stretch/>
        </p:blipFill>
        <p:spPr>
          <a:xfrm>
            <a:off x="1295400" y="1320154"/>
            <a:ext cx="5922368" cy="3522328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C48671A8-1BF7-C7EF-68B3-08698CA409D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403" b="8551"/>
          <a:stretch/>
        </p:blipFill>
        <p:spPr>
          <a:xfrm>
            <a:off x="38465" y="5537846"/>
            <a:ext cx="3798173" cy="651352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44C5B122-A5C2-AA44-82C9-53ACC33DD1B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5" r="28651"/>
          <a:stretch/>
        </p:blipFill>
        <p:spPr>
          <a:xfrm>
            <a:off x="4762500" y="5537846"/>
            <a:ext cx="3964099" cy="803752"/>
          </a:xfrm>
          <a:prstGeom prst="rect">
            <a:avLst/>
          </a:prstGeom>
        </p:spPr>
      </p:pic>
      <p:sp>
        <p:nvSpPr>
          <p:cNvPr id="14" name="Flèche : droite 13">
            <a:extLst>
              <a:ext uri="{FF2B5EF4-FFF2-40B4-BE49-F238E27FC236}">
                <a16:creationId xmlns:a16="http://schemas.microsoft.com/office/drawing/2014/main" id="{C3E3BBC3-EE24-FF8D-E36F-D4E32616CBAE}"/>
              </a:ext>
            </a:extLst>
          </p:cNvPr>
          <p:cNvSpPr/>
          <p:nvPr/>
        </p:nvSpPr>
        <p:spPr>
          <a:xfrm>
            <a:off x="3886201" y="5537846"/>
            <a:ext cx="990600" cy="496568"/>
          </a:xfrm>
          <a:prstGeom prst="rightArrow">
            <a:avLst/>
          </a:prstGeom>
          <a:solidFill>
            <a:srgbClr val="7030A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3897706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5023839-21FC-4594-95CA-54C95EA276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400" i="0" cap="all" baseline="0" dirty="0">
                <a:solidFill>
                  <a:srgbClr val="7030A0"/>
                </a:solidFill>
                <a:ea typeface="+mj-ea"/>
                <a:cs typeface="Calibri" panose="020F0502020204030204" pitchFamily="34" charset="0"/>
              </a:rPr>
              <a:t>APPROCHES DE Modélisation</a:t>
            </a:r>
            <a:br>
              <a:rPr lang="fr-FR" sz="2400" i="0" cap="all" baseline="0" dirty="0">
                <a:solidFill>
                  <a:srgbClr val="7030A0"/>
                </a:solidFill>
                <a:cs typeface="Calibri" panose="020F0502020204030204" pitchFamily="34" charset="0"/>
              </a:rPr>
            </a:br>
            <a:br>
              <a:rPr lang="fr-FR" sz="2400" i="0" cap="all" baseline="0" dirty="0">
                <a:solidFill>
                  <a:srgbClr val="7030A0"/>
                </a:solidFill>
                <a:cs typeface="Calibri" panose="020F0502020204030204" pitchFamily="34" charset="0"/>
              </a:rPr>
            </a:br>
            <a:endParaRPr lang="fr-FR" dirty="0">
              <a:solidFill>
                <a:srgbClr val="7030A0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36D3F3D-F273-22F3-3128-CF52292D8E2F}"/>
              </a:ext>
            </a:extLst>
          </p:cNvPr>
          <p:cNvSpPr txBox="1"/>
          <p:nvPr/>
        </p:nvSpPr>
        <p:spPr>
          <a:xfrm>
            <a:off x="304800" y="836201"/>
            <a:ext cx="1785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rgbClr val="7030A0"/>
                </a:solidFill>
              </a:rPr>
              <a:t>Problématique </a:t>
            </a:r>
            <a:endParaRPr lang="fr-FR" dirty="0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9AFD35D5-7C1B-01CA-C17D-0D358D7D21D6}"/>
              </a:ext>
            </a:extLst>
          </p:cNvPr>
          <p:cNvSpPr txBox="1"/>
          <p:nvPr/>
        </p:nvSpPr>
        <p:spPr>
          <a:xfrm>
            <a:off x="2248791" y="836201"/>
            <a:ext cx="6629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/>
              <a:t>Les clients à risque font perdre de l’argent à la société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/>
              <a:t>La société ne doit pas se priver des potentiels clients qui ne présentent pas de risque 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D97349D-1394-6D85-7695-330574300E5D}"/>
              </a:ext>
            </a:extLst>
          </p:cNvPr>
          <p:cNvSpPr txBox="1"/>
          <p:nvPr/>
        </p:nvSpPr>
        <p:spPr>
          <a:xfrm>
            <a:off x="2248791" y="2064603"/>
            <a:ext cx="66294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/>
              <a:t>Les clients à risque non identifiés représentent une dépense effective importante pour la société (frais de recouvrement, sommes non recouvrées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/>
              <a:t>Les clients peu risqués identifiés à tort comme risqués font perdre à la société un chiffre d’affaire potentiel (coût d’opportunité)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96451AF9-DF72-0307-FB67-6F96811B2F28}"/>
              </a:ext>
            </a:extLst>
          </p:cNvPr>
          <p:cNvSpPr txBox="1"/>
          <p:nvPr/>
        </p:nvSpPr>
        <p:spPr>
          <a:xfrm>
            <a:off x="304800" y="3436203"/>
            <a:ext cx="1785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rgbClr val="7030A0"/>
                </a:solidFill>
                <a:sym typeface="Wingdings" panose="05000000000000000000" pitchFamily="2" charset="2"/>
              </a:rPr>
              <a:t></a:t>
            </a:r>
            <a:r>
              <a:rPr lang="fr-FR" b="1" dirty="0">
                <a:solidFill>
                  <a:srgbClr val="7030A0"/>
                </a:solidFill>
              </a:rPr>
              <a:t> </a:t>
            </a:r>
            <a:endParaRPr lang="fr-FR" dirty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253897D7-E89E-AEBD-66BA-9EDB7AF445CA}"/>
              </a:ext>
            </a:extLst>
          </p:cNvPr>
          <p:cNvSpPr txBox="1"/>
          <p:nvPr/>
        </p:nvSpPr>
        <p:spPr>
          <a:xfrm>
            <a:off x="1066800" y="3482369"/>
            <a:ext cx="66294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/>
              <a:t>Limiter le nombre de faux négatif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/>
              <a:t>Limiter dans une moindre mesure le nombre de faux positifs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fr-FR" sz="1600" dirty="0">
                <a:sym typeface="Wingdings" panose="05000000000000000000" pitchFamily="2" charset="2"/>
              </a:rPr>
              <a:t>Équilibre à trouver entre Précision et </a:t>
            </a:r>
            <a:r>
              <a:rPr lang="fr-FR" sz="1600" dirty="0" err="1">
                <a:sym typeface="Wingdings" panose="05000000000000000000" pitchFamily="2" charset="2"/>
              </a:rPr>
              <a:t>Recall</a:t>
            </a:r>
            <a:r>
              <a:rPr lang="fr-FR" sz="1600" dirty="0">
                <a:sym typeface="Wingdings" panose="05000000000000000000" pitchFamily="2" charset="2"/>
              </a:rPr>
              <a:t> 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fr-FR" sz="1600" dirty="0">
                <a:sym typeface="Wingdings" panose="05000000000000000000" pitchFamily="2" charset="2"/>
              </a:rPr>
              <a:t>Utilisation de beta score </a:t>
            </a:r>
            <a:endParaRPr lang="fr-FR" sz="1600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2292DE6B-10E9-0098-25D9-7F049EA9363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79" t="10255" r="22394" b="-2550"/>
          <a:stretch/>
        </p:blipFill>
        <p:spPr>
          <a:xfrm>
            <a:off x="3048000" y="4755538"/>
            <a:ext cx="3581400" cy="895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358666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5023839-21FC-4594-95CA-54C95EA276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400" i="0" cap="all" baseline="0" dirty="0">
                <a:solidFill>
                  <a:srgbClr val="7030A0"/>
                </a:solidFill>
                <a:ea typeface="+mj-ea"/>
                <a:cs typeface="Calibri" panose="020F0502020204030204" pitchFamily="34" charset="0"/>
              </a:rPr>
              <a:t>APPROCHES DE Modélisation</a:t>
            </a:r>
            <a:br>
              <a:rPr lang="fr-FR" sz="2400" i="0" cap="all" baseline="0" dirty="0">
                <a:solidFill>
                  <a:srgbClr val="7030A0"/>
                </a:solidFill>
                <a:cs typeface="Calibri" panose="020F0502020204030204" pitchFamily="34" charset="0"/>
              </a:rPr>
            </a:br>
            <a:br>
              <a:rPr lang="fr-FR" sz="2400" i="0" cap="all" baseline="0" dirty="0">
                <a:solidFill>
                  <a:srgbClr val="7030A0"/>
                </a:solidFill>
                <a:cs typeface="Calibri" panose="020F0502020204030204" pitchFamily="34" charset="0"/>
              </a:rPr>
            </a:br>
            <a:endParaRPr lang="fr-FR" dirty="0">
              <a:solidFill>
                <a:srgbClr val="7030A0"/>
              </a:solidFill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58F8BCCD-14B4-09C5-D565-82D34715E2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4022" y="1219200"/>
            <a:ext cx="6315956" cy="1924319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C8D1D8F6-6940-6DAF-34CE-C9EE950ECFB7}"/>
              </a:ext>
            </a:extLst>
          </p:cNvPr>
          <p:cNvSpPr txBox="1"/>
          <p:nvPr/>
        </p:nvSpPr>
        <p:spPr>
          <a:xfrm>
            <a:off x="762000" y="3375928"/>
            <a:ext cx="66294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ym typeface="Wingdings" panose="05000000000000000000" pitchFamily="2" charset="2"/>
              </a:rPr>
              <a:t>Algorithmes: </a:t>
            </a:r>
          </a:p>
          <a:p>
            <a:pPr marL="285750" indent="-285750">
              <a:buFontTx/>
              <a:buChar char="-"/>
            </a:pPr>
            <a:r>
              <a:rPr lang="fr-FR" sz="1600" dirty="0" err="1">
                <a:sym typeface="Wingdings" panose="05000000000000000000" pitchFamily="2" charset="2"/>
              </a:rPr>
              <a:t>Logistic</a:t>
            </a:r>
            <a:r>
              <a:rPr lang="fr-FR" sz="1600" dirty="0">
                <a:sym typeface="Wingdings" panose="05000000000000000000" pitchFamily="2" charset="2"/>
              </a:rPr>
              <a:t> </a:t>
            </a:r>
            <a:r>
              <a:rPr lang="fr-FR" sz="1600" dirty="0" err="1">
                <a:sym typeface="Wingdings" panose="05000000000000000000" pitchFamily="2" charset="2"/>
              </a:rPr>
              <a:t>Regressor</a:t>
            </a:r>
            <a:r>
              <a:rPr lang="fr-FR" sz="1600" dirty="0">
                <a:sym typeface="Wingdings" panose="05000000000000000000" pitchFamily="2" charset="2"/>
              </a:rPr>
              <a:t> </a:t>
            </a:r>
          </a:p>
          <a:p>
            <a:pPr marL="285750" indent="-285750">
              <a:buFontTx/>
              <a:buChar char="-"/>
            </a:pPr>
            <a:r>
              <a:rPr lang="fr-FR" sz="1600" dirty="0" err="1">
                <a:sym typeface="Wingdings" panose="05000000000000000000" pitchFamily="2" charset="2"/>
              </a:rPr>
              <a:t>Xgboost</a:t>
            </a:r>
            <a:endParaRPr lang="fr-FR" sz="1600" dirty="0">
              <a:sym typeface="Wingdings" panose="05000000000000000000" pitchFamily="2" charset="2"/>
            </a:endParaRPr>
          </a:p>
          <a:p>
            <a:pPr marL="285750" indent="-285750">
              <a:buFontTx/>
              <a:buChar char="-"/>
            </a:pPr>
            <a:r>
              <a:rPr lang="fr-FR" sz="1600" dirty="0" err="1">
                <a:sym typeface="Wingdings" panose="05000000000000000000" pitchFamily="2" charset="2"/>
              </a:rPr>
              <a:t>Random</a:t>
            </a:r>
            <a:r>
              <a:rPr lang="fr-FR" sz="1600" dirty="0">
                <a:sym typeface="Wingdings" panose="05000000000000000000" pitchFamily="2" charset="2"/>
              </a:rPr>
              <a:t> Forest </a:t>
            </a:r>
            <a:r>
              <a:rPr lang="fr-FR" sz="1600" dirty="0" err="1">
                <a:sym typeface="Wingdings" panose="05000000000000000000" pitchFamily="2" charset="2"/>
              </a:rPr>
              <a:t>Regressor</a:t>
            </a:r>
            <a:r>
              <a:rPr lang="fr-FR" sz="1600" dirty="0">
                <a:sym typeface="Wingdings" panose="05000000000000000000" pitchFamily="2" charset="2"/>
              </a:rPr>
              <a:t>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47E6F92D-F30D-6D5E-F126-E540B9AE80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600" y="4724400"/>
            <a:ext cx="7344800" cy="1314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807516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5023839-21FC-4594-95CA-54C95EA276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400" i="0" cap="all" baseline="0" dirty="0">
                <a:solidFill>
                  <a:srgbClr val="7030A0"/>
                </a:solidFill>
                <a:ea typeface="+mj-ea"/>
                <a:cs typeface="Calibri" panose="020F0502020204030204" pitchFamily="34" charset="0"/>
              </a:rPr>
              <a:t>Dashboard interactif</a:t>
            </a:r>
            <a:br>
              <a:rPr lang="fr-FR" sz="2400" i="0" cap="all" baseline="0" dirty="0">
                <a:solidFill>
                  <a:srgbClr val="7030A0"/>
                </a:solidFill>
                <a:cs typeface="Calibri" panose="020F0502020204030204" pitchFamily="34" charset="0"/>
              </a:rPr>
            </a:br>
            <a:br>
              <a:rPr lang="fr-FR" sz="2400" i="0" cap="all" baseline="0" dirty="0">
                <a:solidFill>
                  <a:srgbClr val="7030A0"/>
                </a:solidFill>
                <a:cs typeface="Calibri" panose="020F0502020204030204" pitchFamily="34" charset="0"/>
              </a:rPr>
            </a:br>
            <a:endParaRPr lang="fr-FR" dirty="0">
              <a:solidFill>
                <a:srgbClr val="7030A0"/>
              </a:solidFill>
            </a:endParaRPr>
          </a:p>
        </p:txBody>
      </p:sp>
      <p:graphicFrame>
        <p:nvGraphicFramePr>
          <p:cNvPr id="3" name="Tableau 4">
            <a:extLst>
              <a:ext uri="{FF2B5EF4-FFF2-40B4-BE49-F238E27FC236}">
                <a16:creationId xmlns:a16="http://schemas.microsoft.com/office/drawing/2014/main" id="{7AF14445-EEC1-6996-7E19-C097581B21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640551"/>
              </p:ext>
            </p:extLst>
          </p:nvPr>
        </p:nvGraphicFramePr>
        <p:xfrm>
          <a:off x="1143000" y="1447800"/>
          <a:ext cx="7162800" cy="2763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54655">
                  <a:extLst>
                    <a:ext uri="{9D8B030D-6E8A-4147-A177-3AD203B41FA5}">
                      <a16:colId xmlns:a16="http://schemas.microsoft.com/office/drawing/2014/main" val="3605975351"/>
                    </a:ext>
                  </a:extLst>
                </a:gridCol>
                <a:gridCol w="4208145">
                  <a:extLst>
                    <a:ext uri="{9D8B030D-6E8A-4147-A177-3AD203B41FA5}">
                      <a16:colId xmlns:a16="http://schemas.microsoft.com/office/drawing/2014/main" val="45553989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Sol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88747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b="1" dirty="0"/>
                        <a:t>Flas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API permettant d’appeler la prédiction à partir de l’identifiant du client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75559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b="1" dirty="0" err="1"/>
                        <a:t>streamlit</a:t>
                      </a:r>
                      <a:endParaRPr lang="fr-FR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Tableau de bor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60995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b="1" dirty="0"/>
                        <a:t>Git </a:t>
                      </a:r>
                      <a:r>
                        <a:rPr lang="fr-FR" b="1" dirty="0" err="1"/>
                        <a:t>Lab</a:t>
                      </a:r>
                      <a:endParaRPr lang="fr-FR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err="1"/>
                        <a:t>Versionning</a:t>
                      </a:r>
                      <a:r>
                        <a:rPr lang="fr-FR" dirty="0"/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7341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b="1" dirty="0"/>
                        <a:t>L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Explication/ interprétabilité de la prédi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69817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b="1" dirty="0" err="1"/>
                        <a:t>Heroku</a:t>
                      </a:r>
                      <a:endParaRPr lang="fr-FR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Déploiement sur le clou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4850344"/>
                  </a:ext>
                </a:extLst>
              </a:tr>
            </a:tbl>
          </a:graphicData>
        </a:graphic>
      </p:graphicFrame>
      <p:sp>
        <p:nvSpPr>
          <p:cNvPr id="8" name="ZoneTexte 7">
            <a:extLst>
              <a:ext uri="{FF2B5EF4-FFF2-40B4-BE49-F238E27FC236}">
                <a16:creationId xmlns:a16="http://schemas.microsoft.com/office/drawing/2014/main" id="{4DBFBE6F-ACAE-D18F-B83A-D2F1F0D8BFB4}"/>
              </a:ext>
            </a:extLst>
          </p:cNvPr>
          <p:cNvSpPr txBox="1"/>
          <p:nvPr/>
        </p:nvSpPr>
        <p:spPr>
          <a:xfrm>
            <a:off x="1524000" y="4648200"/>
            <a:ext cx="61722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b="1" dirty="0"/>
              <a:t>Versioning </a:t>
            </a:r>
            <a:r>
              <a:rPr lang="fr-FR" b="1" dirty="0" err="1"/>
              <a:t>Github</a:t>
            </a:r>
            <a:r>
              <a:rPr lang="fr-FR" b="1" dirty="0"/>
              <a:t> : </a:t>
            </a:r>
            <a:r>
              <a:rPr lang="fr-FR" dirty="0"/>
              <a:t>https://github.com/Radi-ib/p7</a:t>
            </a:r>
          </a:p>
        </p:txBody>
      </p:sp>
    </p:spTree>
    <p:extLst>
      <p:ext uri="{BB962C8B-B14F-4D97-AF65-F5344CB8AC3E}">
        <p14:creationId xmlns:p14="http://schemas.microsoft.com/office/powerpoint/2010/main" val="11206763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4_Boehringer Ingelheim_CF_BOE191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ustom 102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3366"/>
        </a:dk2>
        <a:lt2>
          <a:srgbClr val="EBEBEB"/>
        </a:lt2>
        <a:accent1>
          <a:srgbClr val="C0D0E8"/>
        </a:accent1>
        <a:accent2>
          <a:srgbClr val="6098C8"/>
        </a:accent2>
        <a:accent3>
          <a:srgbClr val="285888"/>
        </a:accent3>
        <a:accent4>
          <a:srgbClr val="003366"/>
        </a:accent4>
        <a:accent5>
          <a:srgbClr val="FF9900"/>
        </a:accent5>
        <a:accent6>
          <a:srgbClr val="808080"/>
        </a:accent6>
        <a:hlink>
          <a:srgbClr val="285888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oehringer Ingelheim_CF_BOE191.potx" id="{DD455933-D458-45AF-BF50-609C7EB99339}" vid="{0CDEE1A3-9DD2-40BE-86A2-74078C2A76EB}"/>
    </a:ext>
  </a:extLst>
</a:theme>
</file>

<file path=ppt/theme/theme2.xml><?xml version="1.0" encoding="utf-8"?>
<a:theme xmlns:a="http://schemas.openxmlformats.org/drawingml/2006/main" name="45_Boehringer Ingelheim_CF_BOE191">
  <a:themeElements>
    <a:clrScheme name="Current">
      <a:dk1>
        <a:srgbClr val="000000"/>
      </a:dk1>
      <a:lt1>
        <a:srgbClr val="FFFFFF"/>
      </a:lt1>
      <a:dk2>
        <a:srgbClr val="003366"/>
      </a:dk2>
      <a:lt2>
        <a:srgbClr val="EBEBEB"/>
      </a:lt2>
      <a:accent1>
        <a:srgbClr val="C0D0E8"/>
      </a:accent1>
      <a:accent2>
        <a:srgbClr val="6098C8"/>
      </a:accent2>
      <a:accent3>
        <a:srgbClr val="285888"/>
      </a:accent3>
      <a:accent4>
        <a:srgbClr val="003366"/>
      </a:accent4>
      <a:accent5>
        <a:srgbClr val="FF9900"/>
      </a:accent5>
      <a:accent6>
        <a:srgbClr val="808080"/>
      </a:accent6>
      <a:hlink>
        <a:srgbClr val="285888"/>
      </a:hlink>
      <a:folHlink>
        <a:srgbClr val="003366"/>
      </a:folHlink>
    </a:clrScheme>
    <a:fontScheme name="Custom 102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3366"/>
        </a:dk2>
        <a:lt2>
          <a:srgbClr val="EBEBEB"/>
        </a:lt2>
        <a:accent1>
          <a:srgbClr val="C0D0E8"/>
        </a:accent1>
        <a:accent2>
          <a:srgbClr val="6098C8"/>
        </a:accent2>
        <a:accent3>
          <a:srgbClr val="285888"/>
        </a:accent3>
        <a:accent4>
          <a:srgbClr val="003366"/>
        </a:accent4>
        <a:accent5>
          <a:srgbClr val="FF9900"/>
        </a:accent5>
        <a:accent6>
          <a:srgbClr val="808080"/>
        </a:accent6>
        <a:hlink>
          <a:srgbClr val="285888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oehringer Ingelheim_CF_BOE191.potx" id="{DD455933-D458-45AF-BF50-609C7EB99339}" vid="{0CDEE1A3-9DD2-40BE-86A2-74078C2A76EB}"/>
    </a:ext>
  </a:extLst>
</a:theme>
</file>

<file path=ppt/theme/theme3.xml><?xml version="1.0" encoding="utf-8"?>
<a:theme xmlns:a="http://schemas.openxmlformats.org/drawingml/2006/main" name="51_Boehringer Ingelheim_CF_BOE191">
  <a:themeElements>
    <a:clrScheme name="Current">
      <a:dk1>
        <a:srgbClr val="000000"/>
      </a:dk1>
      <a:lt1>
        <a:srgbClr val="FFFFFF"/>
      </a:lt1>
      <a:dk2>
        <a:srgbClr val="003366"/>
      </a:dk2>
      <a:lt2>
        <a:srgbClr val="EBEBEB"/>
      </a:lt2>
      <a:accent1>
        <a:srgbClr val="C0D0E8"/>
      </a:accent1>
      <a:accent2>
        <a:srgbClr val="6098C8"/>
      </a:accent2>
      <a:accent3>
        <a:srgbClr val="285888"/>
      </a:accent3>
      <a:accent4>
        <a:srgbClr val="003366"/>
      </a:accent4>
      <a:accent5>
        <a:srgbClr val="FF9900"/>
      </a:accent5>
      <a:accent6>
        <a:srgbClr val="808080"/>
      </a:accent6>
      <a:hlink>
        <a:srgbClr val="285888"/>
      </a:hlink>
      <a:folHlink>
        <a:srgbClr val="003366"/>
      </a:folHlink>
    </a:clrScheme>
    <a:fontScheme name="Custom 102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3366"/>
        </a:dk2>
        <a:lt2>
          <a:srgbClr val="EBEBEB"/>
        </a:lt2>
        <a:accent1>
          <a:srgbClr val="C0D0E8"/>
        </a:accent1>
        <a:accent2>
          <a:srgbClr val="6098C8"/>
        </a:accent2>
        <a:accent3>
          <a:srgbClr val="285888"/>
        </a:accent3>
        <a:accent4>
          <a:srgbClr val="003366"/>
        </a:accent4>
        <a:accent5>
          <a:srgbClr val="FF9900"/>
        </a:accent5>
        <a:accent6>
          <a:srgbClr val="808080"/>
        </a:accent6>
        <a:hlink>
          <a:srgbClr val="285888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oehringer Ingelheim_CF_BOE191.potx" id="{DD455933-D458-45AF-BF50-609C7EB99339}" vid="{0CDEE1A3-9DD2-40BE-86A2-74078C2A76EB}"/>
    </a:ext>
  </a:extLst>
</a:theme>
</file>

<file path=ppt/theme/theme4.xml><?xml version="1.0" encoding="utf-8"?>
<a:theme xmlns:a="http://schemas.openxmlformats.org/drawingml/2006/main" name="50_Boehringer Ingelheim_CF_BOE191">
  <a:themeElements>
    <a:clrScheme name="Current">
      <a:dk1>
        <a:srgbClr val="000000"/>
      </a:dk1>
      <a:lt1>
        <a:srgbClr val="FFFFFF"/>
      </a:lt1>
      <a:dk2>
        <a:srgbClr val="003366"/>
      </a:dk2>
      <a:lt2>
        <a:srgbClr val="EBEBEB"/>
      </a:lt2>
      <a:accent1>
        <a:srgbClr val="C0D0E8"/>
      </a:accent1>
      <a:accent2>
        <a:srgbClr val="6098C8"/>
      </a:accent2>
      <a:accent3>
        <a:srgbClr val="285888"/>
      </a:accent3>
      <a:accent4>
        <a:srgbClr val="003366"/>
      </a:accent4>
      <a:accent5>
        <a:srgbClr val="FF9900"/>
      </a:accent5>
      <a:accent6>
        <a:srgbClr val="808080"/>
      </a:accent6>
      <a:hlink>
        <a:srgbClr val="285888"/>
      </a:hlink>
      <a:folHlink>
        <a:srgbClr val="003366"/>
      </a:folHlink>
    </a:clrScheme>
    <a:fontScheme name="Custom 102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3366"/>
        </a:dk2>
        <a:lt2>
          <a:srgbClr val="EBEBEB"/>
        </a:lt2>
        <a:accent1>
          <a:srgbClr val="C0D0E8"/>
        </a:accent1>
        <a:accent2>
          <a:srgbClr val="6098C8"/>
        </a:accent2>
        <a:accent3>
          <a:srgbClr val="285888"/>
        </a:accent3>
        <a:accent4>
          <a:srgbClr val="003366"/>
        </a:accent4>
        <a:accent5>
          <a:srgbClr val="FF9900"/>
        </a:accent5>
        <a:accent6>
          <a:srgbClr val="808080"/>
        </a:accent6>
        <a:hlink>
          <a:srgbClr val="285888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oehringer Ingelheim_CF_BOE191.potx" id="{DD455933-D458-45AF-BF50-609C7EB99339}" vid="{0CDEE1A3-9DD2-40BE-86A2-74078C2A76EB}"/>
    </a:ext>
  </a:extLst>
</a:theme>
</file>

<file path=ppt/theme/theme5.xml><?xml version="1.0" encoding="utf-8"?>
<a:theme xmlns:a="http://schemas.openxmlformats.org/drawingml/2006/main" name="24_Boehringer Ingelheim_CF_BOE191">
  <a:themeElements>
    <a:clrScheme name="Current">
      <a:dk1>
        <a:srgbClr val="000000"/>
      </a:dk1>
      <a:lt1>
        <a:srgbClr val="FFFFFF"/>
      </a:lt1>
      <a:dk2>
        <a:srgbClr val="003366"/>
      </a:dk2>
      <a:lt2>
        <a:srgbClr val="EBEBEB"/>
      </a:lt2>
      <a:accent1>
        <a:srgbClr val="C0D0E8"/>
      </a:accent1>
      <a:accent2>
        <a:srgbClr val="6098C8"/>
      </a:accent2>
      <a:accent3>
        <a:srgbClr val="285888"/>
      </a:accent3>
      <a:accent4>
        <a:srgbClr val="003366"/>
      </a:accent4>
      <a:accent5>
        <a:srgbClr val="FF9900"/>
      </a:accent5>
      <a:accent6>
        <a:srgbClr val="808080"/>
      </a:accent6>
      <a:hlink>
        <a:srgbClr val="285888"/>
      </a:hlink>
      <a:folHlink>
        <a:srgbClr val="003366"/>
      </a:folHlink>
    </a:clrScheme>
    <a:fontScheme name="Custom 102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3366"/>
        </a:dk2>
        <a:lt2>
          <a:srgbClr val="EBEBEB"/>
        </a:lt2>
        <a:accent1>
          <a:srgbClr val="C0D0E8"/>
        </a:accent1>
        <a:accent2>
          <a:srgbClr val="6098C8"/>
        </a:accent2>
        <a:accent3>
          <a:srgbClr val="285888"/>
        </a:accent3>
        <a:accent4>
          <a:srgbClr val="003366"/>
        </a:accent4>
        <a:accent5>
          <a:srgbClr val="FF9900"/>
        </a:accent5>
        <a:accent6>
          <a:srgbClr val="808080"/>
        </a:accent6>
        <a:hlink>
          <a:srgbClr val="285888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oehringer Ingelheim_CF_BOE191.potx" id="{DD455933-D458-45AF-BF50-609C7EB99339}" vid="{0CDEE1A3-9DD2-40BE-86A2-74078C2A76E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80</Words>
  <Application>Microsoft Office PowerPoint</Application>
  <PresentationFormat>Affichage à l'écran (4:3)</PresentationFormat>
  <Paragraphs>96</Paragraphs>
  <Slides>12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5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2</vt:i4>
      </vt:variant>
    </vt:vector>
  </HeadingPairs>
  <TitlesOfParts>
    <vt:vector size="22" baseType="lpstr">
      <vt:lpstr>Arial</vt:lpstr>
      <vt:lpstr>BISansCond</vt:lpstr>
      <vt:lpstr>Calibri</vt:lpstr>
      <vt:lpstr>Wingdings</vt:lpstr>
      <vt:lpstr>44_Boehringer Ingelheim_CF_BOE191</vt:lpstr>
      <vt:lpstr>45_Boehringer Ingelheim_CF_BOE191</vt:lpstr>
      <vt:lpstr>51_Boehringer Ingelheim_CF_BOE191</vt:lpstr>
      <vt:lpstr>50_Boehringer Ingelheim_CF_BOE191</vt:lpstr>
      <vt:lpstr>24_Boehringer Ingelheim_CF_BOE191</vt:lpstr>
      <vt:lpstr>think-cell Slide</vt:lpstr>
      <vt:lpstr>PROJET 7</vt:lpstr>
      <vt:lpstr>Plan </vt:lpstr>
      <vt:lpstr>Problématique &amp; présentation des données  </vt:lpstr>
      <vt:lpstr>Problématique &amp; présentation des données  </vt:lpstr>
      <vt:lpstr>Prétraitements  </vt:lpstr>
      <vt:lpstr>Prétraitements  </vt:lpstr>
      <vt:lpstr>APPROCHES DE Modélisation  </vt:lpstr>
      <vt:lpstr>APPROCHES DE Modélisation  </vt:lpstr>
      <vt:lpstr>Dashboard interactif  </vt:lpstr>
      <vt:lpstr>Dashboard interactif  </vt:lpstr>
      <vt:lpstr>Conclusion   </vt:lpstr>
      <vt:lpstr>Questions &amp; réponses </vt:lpstr>
    </vt:vector>
  </TitlesOfParts>
  <Company>Merial LT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and Strategy</dc:title>
  <dc:creator>Windows User</dc:creator>
  <cp:lastModifiedBy>ibtissam radi</cp:lastModifiedBy>
  <cp:revision>1163</cp:revision>
  <cp:lastPrinted>2017-03-30T09:42:37Z</cp:lastPrinted>
  <dcterms:created xsi:type="dcterms:W3CDTF">2017-01-19T16:09:40Z</dcterms:created>
  <dcterms:modified xsi:type="dcterms:W3CDTF">2022-05-31T11:00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